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package" ContentType="application/vnd.openxmlformats-officedocument.package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tags/tag24.xml" ContentType="application/vnd.openxmlformats-officedocument.presentationml.tags+xml"/>
  <Override PartName="/ppt/notesSlides/notesSlide14.xml" ContentType="application/vnd.openxmlformats-officedocument.presentationml.notesSlide+xml"/>
  <Override PartName="/ppt/tags/tag25.xml" ContentType="application/vnd.openxmlformats-officedocument.presentationml.tags+xml"/>
  <Override PartName="/ppt/notesSlides/notesSlide15.xml" ContentType="application/vnd.openxmlformats-officedocument.presentationml.notesSlide+xml"/>
  <Override PartName="/ppt/tags/tag26.xml" ContentType="application/vnd.openxmlformats-officedocument.presentationml.tags+xml"/>
  <Override PartName="/ppt/notesSlides/notesSlide16.xml" ContentType="application/vnd.openxmlformats-officedocument.presentationml.notesSlide+xml"/>
  <Override PartName="/ppt/tags/tag27.xml" ContentType="application/vnd.openxmlformats-officedocument.presentationml.tags+xml"/>
  <Override PartName="/ppt/notesSlides/notesSlide17.xml" ContentType="application/vnd.openxmlformats-officedocument.presentationml.notesSlide+xml"/>
  <Override PartName="/ppt/tags/tag28.xml" ContentType="application/vnd.openxmlformats-officedocument.presentationml.tags+xml"/>
  <Override PartName="/ppt/notesSlides/notesSlide18.xml" ContentType="application/vnd.openxmlformats-officedocument.presentationml.notesSlide+xml"/>
  <Override PartName="/ppt/tags/tag29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71" r:id="rId1"/>
    <p:sldMasterId id="2147483684" r:id="rId2"/>
    <p:sldMasterId id="2147483789" r:id="rId3"/>
    <p:sldMasterId id="2147483805" r:id="rId4"/>
    <p:sldMasterId id="2147483816" r:id="rId5"/>
    <p:sldMasterId id="2147483827" r:id="rId6"/>
  </p:sldMasterIdLst>
  <p:notesMasterIdLst>
    <p:notesMasterId r:id="rId35"/>
  </p:notesMasterIdLst>
  <p:handoutMasterIdLst>
    <p:handoutMasterId r:id="rId36"/>
  </p:handoutMasterIdLst>
  <p:sldIdLst>
    <p:sldId id="576" r:id="rId7"/>
    <p:sldId id="567" r:id="rId8"/>
    <p:sldId id="568" r:id="rId9"/>
    <p:sldId id="569" r:id="rId10"/>
    <p:sldId id="570" r:id="rId11"/>
    <p:sldId id="571" r:id="rId12"/>
    <p:sldId id="572" r:id="rId13"/>
    <p:sldId id="573" r:id="rId14"/>
    <p:sldId id="491" r:id="rId15"/>
    <p:sldId id="544" r:id="rId16"/>
    <p:sldId id="545" r:id="rId17"/>
    <p:sldId id="561" r:id="rId18"/>
    <p:sldId id="562" r:id="rId19"/>
    <p:sldId id="563" r:id="rId20"/>
    <p:sldId id="549" r:id="rId21"/>
    <p:sldId id="550" r:id="rId22"/>
    <p:sldId id="564" r:id="rId23"/>
    <p:sldId id="552" r:id="rId24"/>
    <p:sldId id="553" r:id="rId25"/>
    <p:sldId id="554" r:id="rId26"/>
    <p:sldId id="555" r:id="rId27"/>
    <p:sldId id="556" r:id="rId28"/>
    <p:sldId id="557" r:id="rId29"/>
    <p:sldId id="521" r:id="rId30"/>
    <p:sldId id="558" r:id="rId31"/>
    <p:sldId id="559" r:id="rId32"/>
    <p:sldId id="560" r:id="rId33"/>
    <p:sldId id="574" r:id="rId34"/>
  </p:sldIdLst>
  <p:sldSz cx="12192000" cy="6858000"/>
  <p:notesSz cx="7104063" cy="10234613"/>
  <p:embeddedFontLst>
    <p:embeddedFont>
      <p:font typeface="B Zar" panose="00000400000000000000" pitchFamily="2" charset="-78"/>
      <p:regular r:id="rId37"/>
      <p:bold r:id="rId38"/>
    </p:embeddedFont>
    <p:embeddedFont>
      <p:font typeface="Century Gothic" panose="020B0502020202020204" pitchFamily="34" charset="0"/>
      <p:regular r:id="rId39"/>
      <p:bold r:id="rId40"/>
      <p:italic r:id="rId41"/>
      <p:boldItalic r:id="rId42"/>
    </p:embeddedFont>
    <p:embeddedFont>
      <p:font typeface="MS Mincho" panose="02020609040205080304" pitchFamily="49" charset="-128"/>
      <p:regular r:id="rId43"/>
    </p:embeddedFont>
    <p:embeddedFont>
      <p:font typeface="Franklin Gothic Book" panose="020B0503020102020204" pitchFamily="34" charset="0"/>
      <p:regular r:id="rId44"/>
      <p:italic r:id="rId45"/>
    </p:embeddedFont>
    <p:embeddedFont>
      <p:font typeface="IranNastaliq" panose="02020505000000020003" pitchFamily="18" charset="0"/>
      <p:regular r:id="rId46"/>
    </p:embeddedFont>
    <p:embeddedFont>
      <p:font typeface="Calibri Light" panose="020F0302020204030204" pitchFamily="34" charset="0"/>
      <p:regular r:id="rId47"/>
      <p:italic r:id="rId48"/>
    </p:embeddedFont>
    <p:embeddedFont>
      <p:font typeface="B Titr" panose="00000700000000000000" pitchFamily="2" charset="-78"/>
      <p:bold r:id="rId49"/>
    </p:embeddedFont>
    <p:embeddedFont>
      <p:font typeface="Wingdings 2" panose="05020102010507070707" pitchFamily="18" charset="2"/>
      <p:regular r:id="rId50"/>
    </p:embeddedFont>
    <p:embeddedFont>
      <p:font typeface="Calibri" panose="020F0502020204030204" pitchFamily="34" charset="0"/>
      <p:regular r:id="rId51"/>
      <p:bold r:id="rId52"/>
      <p:italic r:id="rId53"/>
      <p:boldItalic r:id="rId54"/>
    </p:embeddedFont>
    <p:embeddedFont>
      <p:font typeface="Lotus" panose="00000400000000000000" pitchFamily="2" charset="-78"/>
      <p:regular r:id="rId55"/>
      <p:bold r:id="rId56"/>
    </p:embeddedFont>
    <p:embeddedFont>
      <p:font typeface="Wingdings 3" panose="05040102010807070707" pitchFamily="18" charset="2"/>
      <p:regular r:id="rId57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22" userDrawn="1">
          <p15:clr>
            <a:srgbClr val="A4A3A4"/>
          </p15:clr>
        </p15:guide>
        <p15:guide id="2" orient="horz" pos="3521" userDrawn="1">
          <p15:clr>
            <a:srgbClr val="A4A3A4"/>
          </p15:clr>
        </p15:guide>
        <p15:guide id="3" orient="horz" pos="3884" userDrawn="1">
          <p15:clr>
            <a:srgbClr val="A4A3A4"/>
          </p15:clr>
        </p15:guide>
        <p15:guide id="4" orient="horz" pos="2160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7348" userDrawn="1">
          <p15:clr>
            <a:srgbClr val="A4A3A4"/>
          </p15:clr>
        </p15:guide>
        <p15:guide id="7" pos="332" userDrawn="1">
          <p15:clr>
            <a:srgbClr val="A4A3A4"/>
          </p15:clr>
        </p15:guide>
        <p15:guide id="8" pos="695" userDrawn="1">
          <p15:clr>
            <a:srgbClr val="A4A3A4"/>
          </p15:clr>
        </p15:guide>
        <p15:guide id="9" pos="6985" userDrawn="1">
          <p15:clr>
            <a:srgbClr val="A4A3A4"/>
          </p15:clr>
        </p15:guide>
        <p15:guide id="10" pos="4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99FF66"/>
    <a:srgbClr val="AFFFFF"/>
    <a:srgbClr val="B4FF8F"/>
    <a:srgbClr val="033849"/>
    <a:srgbClr val="DEBDFF"/>
    <a:srgbClr val="8D8B45"/>
    <a:srgbClr val="FFFF2F"/>
    <a:srgbClr val="333300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Style foncé 1 - Accentuation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Style foncé 1 - Accentuation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yle foncé 1 - Accentuation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yle foncé 1 - Accentuation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Style foncé 1 - Accentuation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Style foncé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34" autoAdjust="0"/>
    <p:restoredTop sz="94434" autoAdjust="0"/>
  </p:normalViewPr>
  <p:slideViewPr>
    <p:cSldViewPr>
      <p:cViewPr varScale="1">
        <p:scale>
          <a:sx n="85" d="100"/>
          <a:sy n="85" d="100"/>
        </p:scale>
        <p:origin x="-606" y="-78"/>
      </p:cViewPr>
      <p:guideLst>
        <p:guide orient="horz" pos="3022"/>
        <p:guide orient="horz" pos="3521"/>
        <p:guide orient="horz" pos="3884"/>
        <p:guide orient="horz" pos="2160"/>
        <p:guide pos="3840"/>
        <p:guide pos="7348"/>
        <p:guide pos="332"/>
        <p:guide pos="695"/>
        <p:guide pos="6985"/>
        <p:guide pos="420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5" d="100"/>
          <a:sy n="55" d="100"/>
        </p:scale>
        <p:origin x="-1176" y="-90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font" Target="fonts/font3.fntdata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font" Target="fonts/font6.fntdata"/><Relationship Id="rId47" Type="http://schemas.openxmlformats.org/officeDocument/2006/relationships/font" Target="fonts/font11.fntdata"/><Relationship Id="rId50" Type="http://schemas.openxmlformats.org/officeDocument/2006/relationships/font" Target="fonts/font14.fntdata"/><Relationship Id="rId55" Type="http://schemas.openxmlformats.org/officeDocument/2006/relationships/font" Target="fonts/font19.fntdata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3" Type="http://schemas.openxmlformats.org/officeDocument/2006/relationships/font" Target="fonts/font17.fntdata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tableStyles" Target="tableStyles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Relationship Id="rId43" Type="http://schemas.openxmlformats.org/officeDocument/2006/relationships/font" Target="fonts/font7.fntdata"/><Relationship Id="rId48" Type="http://schemas.openxmlformats.org/officeDocument/2006/relationships/font" Target="fonts/font12.fntdata"/><Relationship Id="rId56" Type="http://schemas.openxmlformats.org/officeDocument/2006/relationships/font" Target="fonts/font20.fntdata"/><Relationship Id="rId8" Type="http://schemas.openxmlformats.org/officeDocument/2006/relationships/slide" Target="slides/slide2.xml"/><Relationship Id="rId51" Type="http://schemas.openxmlformats.org/officeDocument/2006/relationships/font" Target="fonts/font15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font" Target="fonts/font2.fntdata"/><Relationship Id="rId46" Type="http://schemas.openxmlformats.org/officeDocument/2006/relationships/font" Target="fonts/font10.fntdata"/><Relationship Id="rId59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font" Target="fonts/font5.fntdata"/><Relationship Id="rId54" Type="http://schemas.openxmlformats.org/officeDocument/2006/relationships/font" Target="fonts/font18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handoutMaster" Target="handoutMasters/handoutMaster1.xml"/><Relationship Id="rId49" Type="http://schemas.openxmlformats.org/officeDocument/2006/relationships/font" Target="fonts/font13.fntdata"/><Relationship Id="rId57" Type="http://schemas.openxmlformats.org/officeDocument/2006/relationships/font" Target="fonts/font21.fntdata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font" Target="fonts/font8.fntdata"/><Relationship Id="rId52" Type="http://schemas.openxmlformats.org/officeDocument/2006/relationships/font" Target="fonts/font16.fntdata"/><Relationship Id="rId6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1DB5FC-0174-40F1-B4A7-D25AA647A7B8}" type="doc">
      <dgm:prSet loTypeId="urn:microsoft.com/office/officeart/2005/8/layout/hProcess9" loCatId="process" qsTypeId="urn:microsoft.com/office/officeart/2005/8/quickstyle/simple1" qsCatId="simple" csTypeId="urn:microsoft.com/office/officeart/2005/8/colors/colorful2" csCatId="colorful" phldr="1"/>
      <dgm:spPr/>
    </dgm:pt>
    <dgm:pt modelId="{A096654D-6325-4199-B97B-F28F865A9555}">
      <dgm:prSet phldrT="[Text]" custT="1"/>
      <dgm:spPr>
        <a:xfrm>
          <a:off x="335" y="1188719"/>
          <a:ext cx="2304372" cy="1584960"/>
        </a:xfrm>
      </dgm:spPr>
      <dgm:t>
        <a:bodyPr/>
        <a:lstStyle/>
        <a:p>
          <a:r>
            <a:rPr lang="fa-IR" sz="2000" dirty="0" smtClean="0">
              <a:solidFill>
                <a:srgbClr val="FFC000"/>
              </a:solidFill>
              <a:latin typeface="Franklin Gothic Book"/>
              <a:ea typeface="+mn-ea"/>
              <a:cs typeface="B Titr" panose="00000700000000000000" pitchFamily="2" charset="-78"/>
            </a:rPr>
            <a:t>يادگيري مستقل</a:t>
          </a:r>
        </a:p>
        <a:p>
          <a:r>
            <a:rPr lang="fa-IR" sz="1600" dirty="0" smtClean="0">
              <a:latin typeface="Franklin Gothic Book"/>
              <a:ea typeface="+mn-ea"/>
              <a:cs typeface="B Titr" panose="00000700000000000000" pitchFamily="2" charset="-78"/>
            </a:rPr>
            <a:t>به معناي ناوابسته بودن به زمان، مکان و سرعت پيشرفت يادگيرنده </a:t>
          </a:r>
        </a:p>
        <a:p>
          <a:r>
            <a:rPr lang="fa-IR" sz="1600" dirty="0" smtClean="0">
              <a:latin typeface="Franklin Gothic Book"/>
              <a:ea typeface="+mn-ea"/>
              <a:cs typeface="B Titr" panose="00000700000000000000" pitchFamily="2" charset="-78"/>
            </a:rPr>
            <a:t>(انطباق با تقويم شخصي)</a:t>
          </a:r>
          <a:endParaRPr lang="en-US" sz="1400" dirty="0">
            <a:latin typeface="Franklin Gothic Book"/>
            <a:ea typeface="+mn-ea"/>
            <a:cs typeface="B Titr" panose="00000700000000000000" pitchFamily="2" charset="-78"/>
          </a:endParaRPr>
        </a:p>
      </dgm:t>
    </dgm:pt>
    <dgm:pt modelId="{5C095FE5-C521-40AA-981E-F89717212D43}" type="parTrans" cxnId="{248CA2F6-62CB-459C-BB72-DBFDB92BB6BE}">
      <dgm:prSet/>
      <dgm:spPr/>
      <dgm:t>
        <a:bodyPr/>
        <a:lstStyle/>
        <a:p>
          <a:endParaRPr lang="en-US" sz="2000">
            <a:solidFill>
              <a:srgbClr val="221100"/>
            </a:solidFill>
            <a:cs typeface="Titr" pitchFamily="2" charset="-78"/>
          </a:endParaRPr>
        </a:p>
      </dgm:t>
    </dgm:pt>
    <dgm:pt modelId="{1898A509-B324-4C73-B945-2984A9BBDA59}" type="sibTrans" cxnId="{248CA2F6-62CB-459C-BB72-DBFDB92BB6BE}">
      <dgm:prSet/>
      <dgm:spPr/>
      <dgm:t>
        <a:bodyPr/>
        <a:lstStyle/>
        <a:p>
          <a:endParaRPr lang="en-US" sz="2000">
            <a:solidFill>
              <a:srgbClr val="221100"/>
            </a:solidFill>
            <a:cs typeface="Titr" pitchFamily="2" charset="-78"/>
          </a:endParaRPr>
        </a:p>
      </dgm:t>
    </dgm:pt>
    <dgm:pt modelId="{ECD8CE64-976C-49B5-9052-2D448A07C524}">
      <dgm:prSet phldrT="[Text]" custT="1"/>
      <dgm:spPr>
        <a:xfrm>
          <a:off x="2688770" y="1188719"/>
          <a:ext cx="2646318" cy="1584960"/>
        </a:xfrm>
      </dgm:spPr>
      <dgm:t>
        <a:bodyPr/>
        <a:lstStyle/>
        <a:p>
          <a:r>
            <a:rPr lang="fa-IR" sz="2000" dirty="0" smtClean="0">
              <a:solidFill>
                <a:srgbClr val="C00000"/>
              </a:solidFill>
              <a:latin typeface="Franklin Gothic Book"/>
              <a:ea typeface="+mn-ea"/>
              <a:cs typeface="B Titr" panose="00000700000000000000" pitchFamily="2" charset="-78"/>
            </a:rPr>
            <a:t>يادگيري منعطف</a:t>
          </a:r>
          <a:endParaRPr lang="fa-IR" sz="2400" dirty="0" smtClean="0">
            <a:solidFill>
              <a:srgbClr val="C00000"/>
            </a:solidFill>
            <a:latin typeface="Franklin Gothic Book"/>
            <a:ea typeface="+mn-ea"/>
            <a:cs typeface="B Titr" panose="00000700000000000000" pitchFamily="2" charset="-78"/>
          </a:endParaRPr>
        </a:p>
        <a:p>
          <a:r>
            <a:rPr lang="fa-IR" sz="1600" dirty="0" smtClean="0">
              <a:latin typeface="Franklin Gothic Book"/>
              <a:ea typeface="+mn-ea"/>
              <a:cs typeface="B Titr" panose="00000700000000000000" pitchFamily="2" charset="-78"/>
            </a:rPr>
            <a:t>يعني رعايت حق انتخاب يادگيرنده با توجه به استعداد و دانش پيشين وي </a:t>
          </a:r>
        </a:p>
        <a:p>
          <a:r>
            <a:rPr lang="fa-IR" sz="1600" dirty="0" smtClean="0">
              <a:latin typeface="Franklin Gothic Book"/>
              <a:ea typeface="+mn-ea"/>
              <a:cs typeface="B Titr" panose="00000700000000000000" pitchFamily="2" charset="-78"/>
            </a:rPr>
            <a:t>(انطباق با تقويم رشدي)</a:t>
          </a:r>
          <a:endParaRPr lang="en-US" sz="1600" dirty="0">
            <a:latin typeface="Franklin Gothic Book"/>
            <a:ea typeface="+mn-ea"/>
            <a:cs typeface="B Titr" panose="00000700000000000000" pitchFamily="2" charset="-78"/>
          </a:endParaRPr>
        </a:p>
      </dgm:t>
    </dgm:pt>
    <dgm:pt modelId="{4C89C868-04F2-46B0-9B3B-1F3C64DF4D78}" type="parTrans" cxnId="{60DC07F3-998E-4D5B-A196-716E9D2F2BE6}">
      <dgm:prSet/>
      <dgm:spPr/>
      <dgm:t>
        <a:bodyPr/>
        <a:lstStyle/>
        <a:p>
          <a:endParaRPr lang="en-US" sz="2000">
            <a:solidFill>
              <a:srgbClr val="221100"/>
            </a:solidFill>
            <a:cs typeface="Titr" pitchFamily="2" charset="-78"/>
          </a:endParaRPr>
        </a:p>
      </dgm:t>
    </dgm:pt>
    <dgm:pt modelId="{14535945-5D75-4FBB-99DA-A724FEC74B88}" type="sibTrans" cxnId="{60DC07F3-998E-4D5B-A196-716E9D2F2BE6}">
      <dgm:prSet/>
      <dgm:spPr/>
      <dgm:t>
        <a:bodyPr/>
        <a:lstStyle/>
        <a:p>
          <a:endParaRPr lang="en-US" sz="2000">
            <a:solidFill>
              <a:srgbClr val="221100"/>
            </a:solidFill>
            <a:cs typeface="Titr" pitchFamily="2" charset="-78"/>
          </a:endParaRPr>
        </a:p>
      </dgm:t>
    </dgm:pt>
    <dgm:pt modelId="{AA4A5784-F14E-4CA3-9005-6F4CB71FA367}">
      <dgm:prSet phldrT="[Text]" custT="1"/>
      <dgm:spPr>
        <a:xfrm>
          <a:off x="5719151" y="1188719"/>
          <a:ext cx="2586312" cy="1584960"/>
        </a:xfrm>
      </dgm:spPr>
      <dgm:t>
        <a:bodyPr/>
        <a:lstStyle/>
        <a:p>
          <a:r>
            <a:rPr lang="fa-IR" sz="2000" dirty="0" smtClean="0">
              <a:solidFill>
                <a:srgbClr val="7030A0"/>
              </a:solidFill>
              <a:latin typeface="Franklin Gothic Book"/>
              <a:ea typeface="+mn-ea"/>
              <a:cs typeface="B Titr" panose="00000700000000000000" pitchFamily="2" charset="-78"/>
            </a:rPr>
            <a:t>يادگيري توزيع شده</a:t>
          </a:r>
          <a:endParaRPr lang="fa-IR" sz="2400" dirty="0" smtClean="0">
            <a:solidFill>
              <a:srgbClr val="7030A0"/>
            </a:solidFill>
            <a:latin typeface="Franklin Gothic Book"/>
            <a:ea typeface="+mn-ea"/>
            <a:cs typeface="B Titr" panose="00000700000000000000" pitchFamily="2" charset="-78"/>
          </a:endParaRPr>
        </a:p>
        <a:p>
          <a:r>
            <a:rPr lang="fa-IR" sz="1600" dirty="0" smtClean="0">
              <a:latin typeface="Franklin Gothic Book"/>
              <a:ea typeface="+mn-ea"/>
              <a:cs typeface="B Titr" panose="00000700000000000000" pitchFamily="2" charset="-78"/>
            </a:rPr>
            <a:t>به معناي حضور يادگيرنده، ياددهنده و محتوا در مکان هاي مختلف و غيرمتمرکز </a:t>
          </a:r>
        </a:p>
        <a:p>
          <a:r>
            <a:rPr lang="fa-IR" sz="1600" dirty="0" smtClean="0">
              <a:latin typeface="Franklin Gothic Book"/>
              <a:ea typeface="+mn-ea"/>
              <a:cs typeface="B Titr" panose="00000700000000000000" pitchFamily="2" charset="-78"/>
            </a:rPr>
            <a:t>(انطباق با نظام شبکه اي)</a:t>
          </a:r>
          <a:endParaRPr lang="en-US" sz="1600" dirty="0">
            <a:latin typeface="Franklin Gothic Book"/>
            <a:ea typeface="+mn-ea"/>
            <a:cs typeface="B Titr" panose="00000700000000000000" pitchFamily="2" charset="-78"/>
          </a:endParaRPr>
        </a:p>
      </dgm:t>
    </dgm:pt>
    <dgm:pt modelId="{E5940F21-FB9C-41C1-9BC9-686A1DFE15ED}" type="parTrans" cxnId="{EB432883-5021-439E-A6F6-F83861F20545}">
      <dgm:prSet/>
      <dgm:spPr/>
      <dgm:t>
        <a:bodyPr/>
        <a:lstStyle/>
        <a:p>
          <a:endParaRPr lang="en-US" sz="2000">
            <a:solidFill>
              <a:srgbClr val="221100"/>
            </a:solidFill>
            <a:cs typeface="Titr" pitchFamily="2" charset="-78"/>
          </a:endParaRPr>
        </a:p>
      </dgm:t>
    </dgm:pt>
    <dgm:pt modelId="{88EC2F43-CDF8-4AC9-8A15-376BDCF0783D}" type="sibTrans" cxnId="{EB432883-5021-439E-A6F6-F83861F20545}">
      <dgm:prSet/>
      <dgm:spPr/>
      <dgm:t>
        <a:bodyPr/>
        <a:lstStyle/>
        <a:p>
          <a:endParaRPr lang="en-US" sz="2000">
            <a:solidFill>
              <a:srgbClr val="221100"/>
            </a:solidFill>
            <a:cs typeface="Titr" pitchFamily="2" charset="-78"/>
          </a:endParaRPr>
        </a:p>
      </dgm:t>
    </dgm:pt>
    <dgm:pt modelId="{85FBCB16-365D-4C0A-B211-0D41FDC8E022}" type="pres">
      <dgm:prSet presAssocID="{F21DB5FC-0174-40F1-B4A7-D25AA647A7B8}" presName="CompostProcess" presStyleCnt="0">
        <dgm:presLayoutVars>
          <dgm:dir val="rev"/>
          <dgm:resizeHandles val="exact"/>
        </dgm:presLayoutVars>
      </dgm:prSet>
      <dgm:spPr/>
    </dgm:pt>
    <dgm:pt modelId="{23ACB277-2F2A-43DD-A8B6-D475C59DF3E3}" type="pres">
      <dgm:prSet presAssocID="{F21DB5FC-0174-40F1-B4A7-D25AA647A7B8}" presName="arrow" presStyleLbl="bgShp" presStyleIdx="0" presStyleCnt="1" custFlipVert="1" custScaleX="117647" custScaleY="82645" custLinFactNeighborX="1471" custLinFactNeighborY="-3261"/>
      <dgm:spPr>
        <a:xfrm>
          <a:off x="411172" y="0"/>
          <a:ext cx="7691158" cy="3962400"/>
        </a:xfrm>
        <a:prstGeom prst="leftArrow">
          <a:avLst/>
        </a:prstGeom>
      </dgm:spPr>
    </dgm:pt>
    <dgm:pt modelId="{0A679B39-9CDC-44EF-A144-E6E0B9DB8629}" type="pres">
      <dgm:prSet presAssocID="{F21DB5FC-0174-40F1-B4A7-D25AA647A7B8}" presName="linearProcess" presStyleCnt="0"/>
      <dgm:spPr/>
    </dgm:pt>
    <dgm:pt modelId="{5CFCA9A8-87DF-4D73-BF61-C89EABAEEB83}" type="pres">
      <dgm:prSet presAssocID="{A096654D-6325-4199-B97B-F28F865A9555}" presName="textNode" presStyleLbl="node1" presStyleIdx="0" presStyleCnt="3" custScaleX="112100" custScaleY="131330" custLinFactNeighborY="-31626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  <dgm:pt modelId="{C74459C3-42F9-4208-B373-A60AE5BCC8FA}" type="pres">
      <dgm:prSet presAssocID="{1898A509-B324-4C73-B945-2984A9BBDA59}" presName="sibTrans" presStyleCnt="0"/>
      <dgm:spPr/>
    </dgm:pt>
    <dgm:pt modelId="{1BBE8BBB-42CC-4676-87B9-34C67D025817}" type="pres">
      <dgm:prSet presAssocID="{ECD8CE64-976C-49B5-9052-2D448A07C524}" presName="textNode" presStyleLbl="node1" presStyleIdx="1" presStyleCnt="3" custScaleX="121696" custScaleY="129894" custLinFactNeighborY="-31626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  <dgm:pt modelId="{9488002A-65B8-4FC9-86FD-1C6DFA3EABF4}" type="pres">
      <dgm:prSet presAssocID="{14535945-5D75-4FBB-99DA-A724FEC74B88}" presName="sibTrans" presStyleCnt="0"/>
      <dgm:spPr/>
    </dgm:pt>
    <dgm:pt modelId="{23716AA1-9785-400E-AA92-57C4EF8EC4A8}" type="pres">
      <dgm:prSet presAssocID="{AA4A5784-F14E-4CA3-9005-6F4CB71FA367}" presName="textNode" presStyleLbl="node1" presStyleIdx="2" presStyleCnt="3" custScaleX="142841" custScaleY="124495" custLinFactNeighborY="-31626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</dgm:ptLst>
  <dgm:cxnLst>
    <dgm:cxn modelId="{60DC07F3-998E-4D5B-A196-716E9D2F2BE6}" srcId="{F21DB5FC-0174-40F1-B4A7-D25AA647A7B8}" destId="{ECD8CE64-976C-49B5-9052-2D448A07C524}" srcOrd="1" destOrd="0" parTransId="{4C89C868-04F2-46B0-9B3B-1F3C64DF4D78}" sibTransId="{14535945-5D75-4FBB-99DA-A724FEC74B88}"/>
    <dgm:cxn modelId="{248CA2F6-62CB-459C-BB72-DBFDB92BB6BE}" srcId="{F21DB5FC-0174-40F1-B4A7-D25AA647A7B8}" destId="{A096654D-6325-4199-B97B-F28F865A9555}" srcOrd="0" destOrd="0" parTransId="{5C095FE5-C521-40AA-981E-F89717212D43}" sibTransId="{1898A509-B324-4C73-B945-2984A9BBDA59}"/>
    <dgm:cxn modelId="{40110CF9-262E-4A09-BCF2-43A368D5A2A3}" type="presOf" srcId="{AA4A5784-F14E-4CA3-9005-6F4CB71FA367}" destId="{23716AA1-9785-400E-AA92-57C4EF8EC4A8}" srcOrd="0" destOrd="0" presId="urn:microsoft.com/office/officeart/2005/8/layout/hProcess9"/>
    <dgm:cxn modelId="{EB432883-5021-439E-A6F6-F83861F20545}" srcId="{F21DB5FC-0174-40F1-B4A7-D25AA647A7B8}" destId="{AA4A5784-F14E-4CA3-9005-6F4CB71FA367}" srcOrd="2" destOrd="0" parTransId="{E5940F21-FB9C-41C1-9BC9-686A1DFE15ED}" sibTransId="{88EC2F43-CDF8-4AC9-8A15-376BDCF0783D}"/>
    <dgm:cxn modelId="{920B63BB-8EB5-472C-9F7C-5095CECD87D3}" type="presOf" srcId="{A096654D-6325-4199-B97B-F28F865A9555}" destId="{5CFCA9A8-87DF-4D73-BF61-C89EABAEEB83}" srcOrd="0" destOrd="0" presId="urn:microsoft.com/office/officeart/2005/8/layout/hProcess9"/>
    <dgm:cxn modelId="{AA6A7594-D78D-4AD3-9921-0C29B9E53A7D}" type="presOf" srcId="{F21DB5FC-0174-40F1-B4A7-D25AA647A7B8}" destId="{85FBCB16-365D-4C0A-B211-0D41FDC8E022}" srcOrd="0" destOrd="0" presId="urn:microsoft.com/office/officeart/2005/8/layout/hProcess9"/>
    <dgm:cxn modelId="{46911A72-18BF-4581-A623-8EA4CF0283D1}" type="presOf" srcId="{ECD8CE64-976C-49B5-9052-2D448A07C524}" destId="{1BBE8BBB-42CC-4676-87B9-34C67D025817}" srcOrd="0" destOrd="0" presId="urn:microsoft.com/office/officeart/2005/8/layout/hProcess9"/>
    <dgm:cxn modelId="{D9C5EDB7-208C-4978-84B5-13A15D6E02F6}" type="presParOf" srcId="{85FBCB16-365D-4C0A-B211-0D41FDC8E022}" destId="{23ACB277-2F2A-43DD-A8B6-D475C59DF3E3}" srcOrd="0" destOrd="0" presId="urn:microsoft.com/office/officeart/2005/8/layout/hProcess9"/>
    <dgm:cxn modelId="{8B01EB6E-77D7-4D53-95C1-483755A7158E}" type="presParOf" srcId="{85FBCB16-365D-4C0A-B211-0D41FDC8E022}" destId="{0A679B39-9CDC-44EF-A144-E6E0B9DB8629}" srcOrd="1" destOrd="0" presId="urn:microsoft.com/office/officeart/2005/8/layout/hProcess9"/>
    <dgm:cxn modelId="{5DD7241A-D2F0-456D-B289-3CAE33A0988C}" type="presParOf" srcId="{0A679B39-9CDC-44EF-A144-E6E0B9DB8629}" destId="{5CFCA9A8-87DF-4D73-BF61-C89EABAEEB83}" srcOrd="0" destOrd="0" presId="urn:microsoft.com/office/officeart/2005/8/layout/hProcess9"/>
    <dgm:cxn modelId="{718A8FFA-F4F8-49FD-97FB-A741EC4407CF}" type="presParOf" srcId="{0A679B39-9CDC-44EF-A144-E6E0B9DB8629}" destId="{C74459C3-42F9-4208-B373-A60AE5BCC8FA}" srcOrd="1" destOrd="0" presId="urn:microsoft.com/office/officeart/2005/8/layout/hProcess9"/>
    <dgm:cxn modelId="{CD349679-3C86-4562-9A70-FCE73D5A294A}" type="presParOf" srcId="{0A679B39-9CDC-44EF-A144-E6E0B9DB8629}" destId="{1BBE8BBB-42CC-4676-87B9-34C67D025817}" srcOrd="2" destOrd="0" presId="urn:microsoft.com/office/officeart/2005/8/layout/hProcess9"/>
    <dgm:cxn modelId="{86A4BA81-C845-4177-9B12-34E669E16167}" type="presParOf" srcId="{0A679B39-9CDC-44EF-A144-E6E0B9DB8629}" destId="{9488002A-65B8-4FC9-86FD-1C6DFA3EABF4}" srcOrd="3" destOrd="0" presId="urn:microsoft.com/office/officeart/2005/8/layout/hProcess9"/>
    <dgm:cxn modelId="{F8B0FBBB-4166-4957-82AA-DECFF89CFC69}" type="presParOf" srcId="{0A679B39-9CDC-44EF-A144-E6E0B9DB8629}" destId="{23716AA1-9785-400E-AA92-57C4EF8EC4A8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B90D16D-48B1-4B01-9350-B213FE952BB1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B0A19FA-A419-4EB2-813A-4501557DF0D8}">
      <dgm:prSet phldrT="[Text]" custT="1"/>
      <dgm:spPr/>
      <dgm:t>
        <a:bodyPr/>
        <a:lstStyle/>
        <a:p>
          <a:r>
            <a:rPr lang="fa-IR" sz="2400" dirty="0" smtClean="0">
              <a:cs typeface="B Titr" panose="00000700000000000000" pitchFamily="2" charset="-78"/>
            </a:rPr>
            <a:t>امنیت </a:t>
          </a:r>
          <a:r>
            <a:rPr lang="en-US" sz="2400" dirty="0" smtClean="0">
              <a:cs typeface="B Titr" panose="00000700000000000000" pitchFamily="2" charset="-78"/>
            </a:rPr>
            <a:t> </a:t>
          </a:r>
          <a:endParaRPr lang="en-US" sz="2400" dirty="0">
            <a:cs typeface="B Titr" panose="00000700000000000000" pitchFamily="2" charset="-78"/>
          </a:endParaRPr>
        </a:p>
      </dgm:t>
    </dgm:pt>
    <dgm:pt modelId="{C2B2D00F-2BBB-4CB9-8869-D4E0AF946B44}" type="parTrans" cxnId="{D7094F79-C08B-4F0E-98E8-D4E67F761AD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F3A09763-BA32-430B-B590-8D0FDD6EBB0E}" type="sibTrans" cxnId="{D7094F79-C08B-4F0E-98E8-D4E67F761AD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4CC192AE-E793-4D92-B65D-C78225D2E38D}">
      <dgm:prSet phldrT="[Text]"/>
      <dgm:spPr/>
      <dgm:t>
        <a:bodyPr/>
        <a:lstStyle/>
        <a:p>
          <a:r>
            <a:rPr lang="fa-IR" dirty="0" smtClean="0">
              <a:cs typeface="B Titr" panose="00000700000000000000" pitchFamily="2" charset="-78"/>
            </a:rPr>
            <a:t>محیط کار و کسب الکترونیکی</a:t>
          </a:r>
          <a:endParaRPr lang="en-US" dirty="0">
            <a:cs typeface="B Titr" panose="00000700000000000000" pitchFamily="2" charset="-78"/>
          </a:endParaRPr>
        </a:p>
      </dgm:t>
    </dgm:pt>
    <dgm:pt modelId="{7CA2A07A-D154-48B2-B8E4-0D38BC7B46DA}" type="parTrans" cxnId="{76144057-2801-4A8B-9E32-5D8AB96D57B4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50127C91-5F3B-45DC-8BD1-2137C58D807B}" type="sibTrans" cxnId="{76144057-2801-4A8B-9E32-5D8AB96D57B4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6941AFF1-9563-4391-AF0B-0C18C0BB5F32}">
      <dgm:prSet phldrT="[Text]" custT="1"/>
      <dgm:spPr/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قابلیت اتصال</a:t>
          </a:r>
          <a:endParaRPr lang="en-US" sz="1800" dirty="0">
            <a:cs typeface="B Titr" panose="00000700000000000000" pitchFamily="2" charset="-78"/>
          </a:endParaRPr>
        </a:p>
      </dgm:t>
    </dgm:pt>
    <dgm:pt modelId="{A9DE227D-700D-4C5A-B228-6D32790C0361}" type="parTrans" cxnId="{0825C1EC-29B9-43E5-BCE3-A4AA64CF997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4A128919-9B72-4915-98B7-D2B31C9A9A43}" type="sibTrans" cxnId="{0825C1EC-29B9-43E5-BCE3-A4AA64CF997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80B65363-3EC3-449C-8968-59E855EAE44B}">
      <dgm:prSet phldrT="[Text]" custT="1"/>
      <dgm:spPr/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رهبری الکترونیکی</a:t>
          </a:r>
          <a:endParaRPr lang="en-US" sz="1800" dirty="0">
            <a:cs typeface="B Titr" panose="00000700000000000000" pitchFamily="2" charset="-78"/>
          </a:endParaRPr>
        </a:p>
      </dgm:t>
    </dgm:pt>
    <dgm:pt modelId="{B19635A0-16C9-4D6D-980F-8B1A92886FA5}" type="parTrans" cxnId="{A4D29D1F-6CB9-4AB2-996E-90F55D4A38FC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9CB13CE2-E5FA-4FA4-97FF-D59A2D430964}" type="sibTrans" cxnId="{A4D29D1F-6CB9-4AB2-996E-90F55D4A38FC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8879B510-401C-4532-9519-3F3DF5F5BB7B}">
      <dgm:prSet phldrT="[Text]" custT="1"/>
      <dgm:spPr/>
      <dgm:t>
        <a:bodyPr/>
        <a:lstStyle/>
        <a:p>
          <a:r>
            <a:rPr lang="fa-IR" sz="2000" dirty="0" smtClean="0">
              <a:cs typeface="B Titr" panose="00000700000000000000" pitchFamily="2" charset="-78"/>
            </a:rPr>
            <a:t>نیروی انسانی</a:t>
          </a:r>
          <a:endParaRPr lang="en-US" sz="2000" dirty="0">
            <a:cs typeface="B Titr" panose="00000700000000000000" pitchFamily="2" charset="-78"/>
          </a:endParaRPr>
        </a:p>
      </dgm:t>
    </dgm:pt>
    <dgm:pt modelId="{4E9ABBA7-B56A-45FF-9D80-113FAFA19CA2}" type="parTrans" cxnId="{2DAECEDB-2057-4794-AB0A-A584CD219026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85316150-882E-4C17-AD75-1D91C53AE1D8}" type="sibTrans" cxnId="{2DAECEDB-2057-4794-AB0A-A584CD219026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306F3121-45C7-43F2-BADC-19E3683E5D0E}">
      <dgm:prSet phldrT="[Text]"/>
      <dgm:spPr/>
      <dgm:t>
        <a:bodyPr/>
        <a:lstStyle/>
        <a:p>
          <a:r>
            <a:rPr lang="fa-IR" dirty="0" smtClean="0">
              <a:cs typeface="B Titr" panose="00000700000000000000" pitchFamily="2" charset="-78"/>
            </a:rPr>
            <a:t>آمادگی الکترونیکی</a:t>
          </a:r>
          <a:endParaRPr lang="en-US" dirty="0">
            <a:cs typeface="B Titr" panose="00000700000000000000" pitchFamily="2" charset="-78"/>
          </a:endParaRPr>
        </a:p>
      </dgm:t>
    </dgm:pt>
    <dgm:pt modelId="{E0C30F2F-C249-48AB-8AC1-D9ED9C1E2116}" type="sibTrans" cxnId="{A1949428-4154-43F3-BE3C-A0C6211E1B50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D4A0A32B-40F7-47A6-BE9D-F95343F20CF7}" type="parTrans" cxnId="{A1949428-4154-43F3-BE3C-A0C6211E1B50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08AB5DF8-A7BE-4FC2-BF1D-795B678B4733}" type="pres">
      <dgm:prSet presAssocID="{2B90D16D-48B1-4B01-9350-B213FE952BB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rtl="1"/>
          <a:endParaRPr lang="fa-IR"/>
        </a:p>
      </dgm:t>
    </dgm:pt>
    <dgm:pt modelId="{9857AC93-91DF-488F-BF98-9866EEB30F36}" type="pres">
      <dgm:prSet presAssocID="{306F3121-45C7-43F2-BADC-19E3683E5D0E}" presName="centerShape" presStyleLbl="node0" presStyleIdx="0" presStyleCnt="1"/>
      <dgm:spPr/>
      <dgm:t>
        <a:bodyPr/>
        <a:lstStyle/>
        <a:p>
          <a:pPr rtl="1"/>
          <a:endParaRPr lang="fa-IR"/>
        </a:p>
      </dgm:t>
    </dgm:pt>
    <dgm:pt modelId="{ABC1C840-7F93-41A6-9543-851AF436E18A}" type="pres">
      <dgm:prSet presAssocID="{C2B2D00F-2BBB-4CB9-8869-D4E0AF946B44}" presName="parTrans" presStyleLbl="sibTrans2D1" presStyleIdx="0" presStyleCnt="5"/>
      <dgm:spPr/>
      <dgm:t>
        <a:bodyPr/>
        <a:lstStyle/>
        <a:p>
          <a:pPr rtl="1"/>
          <a:endParaRPr lang="fa-IR"/>
        </a:p>
      </dgm:t>
    </dgm:pt>
    <dgm:pt modelId="{273C2782-3A41-456C-85D1-382F769D3345}" type="pres">
      <dgm:prSet presAssocID="{C2B2D00F-2BBB-4CB9-8869-D4E0AF946B44}" presName="connectorText" presStyleLbl="sibTrans2D1" presStyleIdx="0" presStyleCnt="5"/>
      <dgm:spPr/>
      <dgm:t>
        <a:bodyPr/>
        <a:lstStyle/>
        <a:p>
          <a:pPr rtl="1"/>
          <a:endParaRPr lang="fa-IR"/>
        </a:p>
      </dgm:t>
    </dgm:pt>
    <dgm:pt modelId="{46359D73-4450-42A6-830D-FE77BBB99BAC}" type="pres">
      <dgm:prSet presAssocID="{9B0A19FA-A419-4EB2-813A-4501557DF0D8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A6847F6D-869F-4FA8-BE36-B0C6BCFA798C}" type="pres">
      <dgm:prSet presAssocID="{7CA2A07A-D154-48B2-B8E4-0D38BC7B46DA}" presName="parTrans" presStyleLbl="sibTrans2D1" presStyleIdx="1" presStyleCnt="5"/>
      <dgm:spPr/>
      <dgm:t>
        <a:bodyPr/>
        <a:lstStyle/>
        <a:p>
          <a:pPr rtl="1"/>
          <a:endParaRPr lang="fa-IR"/>
        </a:p>
      </dgm:t>
    </dgm:pt>
    <dgm:pt modelId="{1E5585D1-340B-4984-A7BB-19D81AC50E66}" type="pres">
      <dgm:prSet presAssocID="{7CA2A07A-D154-48B2-B8E4-0D38BC7B46DA}" presName="connectorText" presStyleLbl="sibTrans2D1" presStyleIdx="1" presStyleCnt="5"/>
      <dgm:spPr/>
      <dgm:t>
        <a:bodyPr/>
        <a:lstStyle/>
        <a:p>
          <a:pPr rtl="1"/>
          <a:endParaRPr lang="fa-IR"/>
        </a:p>
      </dgm:t>
    </dgm:pt>
    <dgm:pt modelId="{11407F21-F028-4FBD-9F62-1190005AF0FB}" type="pres">
      <dgm:prSet presAssocID="{4CC192AE-E793-4D92-B65D-C78225D2E38D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F705EE0F-9090-4C35-A6BC-B8CD355B539C}" type="pres">
      <dgm:prSet presAssocID="{A9DE227D-700D-4C5A-B228-6D32790C0361}" presName="parTrans" presStyleLbl="sibTrans2D1" presStyleIdx="2" presStyleCnt="5"/>
      <dgm:spPr/>
      <dgm:t>
        <a:bodyPr/>
        <a:lstStyle/>
        <a:p>
          <a:pPr rtl="1"/>
          <a:endParaRPr lang="fa-IR"/>
        </a:p>
      </dgm:t>
    </dgm:pt>
    <dgm:pt modelId="{88FE6819-C7DE-4670-B9EE-76319709509B}" type="pres">
      <dgm:prSet presAssocID="{A9DE227D-700D-4C5A-B228-6D32790C0361}" presName="connectorText" presStyleLbl="sibTrans2D1" presStyleIdx="2" presStyleCnt="5"/>
      <dgm:spPr/>
      <dgm:t>
        <a:bodyPr/>
        <a:lstStyle/>
        <a:p>
          <a:pPr rtl="1"/>
          <a:endParaRPr lang="fa-IR"/>
        </a:p>
      </dgm:t>
    </dgm:pt>
    <dgm:pt modelId="{8D8A490C-1DEE-45B9-ADBF-060420F410BB}" type="pres">
      <dgm:prSet presAssocID="{6941AFF1-9563-4391-AF0B-0C18C0BB5F32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1033BA76-8646-4468-AC91-A9BD87F4BC25}" type="pres">
      <dgm:prSet presAssocID="{B19635A0-16C9-4D6D-980F-8B1A92886FA5}" presName="parTrans" presStyleLbl="sibTrans2D1" presStyleIdx="3" presStyleCnt="5"/>
      <dgm:spPr/>
      <dgm:t>
        <a:bodyPr/>
        <a:lstStyle/>
        <a:p>
          <a:pPr rtl="1"/>
          <a:endParaRPr lang="fa-IR"/>
        </a:p>
      </dgm:t>
    </dgm:pt>
    <dgm:pt modelId="{3EE14AC5-1D6E-43AE-B847-7DFEDB22CB00}" type="pres">
      <dgm:prSet presAssocID="{B19635A0-16C9-4D6D-980F-8B1A92886FA5}" presName="connectorText" presStyleLbl="sibTrans2D1" presStyleIdx="3" presStyleCnt="5"/>
      <dgm:spPr/>
      <dgm:t>
        <a:bodyPr/>
        <a:lstStyle/>
        <a:p>
          <a:pPr rtl="1"/>
          <a:endParaRPr lang="fa-IR"/>
        </a:p>
      </dgm:t>
    </dgm:pt>
    <dgm:pt modelId="{397ABF42-2C49-4BA0-B88E-15BD0E3DB7C5}" type="pres">
      <dgm:prSet presAssocID="{80B65363-3EC3-449C-8968-59E855EAE44B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9F15C340-2BE3-478A-B957-35101C273FEA}" type="pres">
      <dgm:prSet presAssocID="{4E9ABBA7-B56A-45FF-9D80-113FAFA19CA2}" presName="parTrans" presStyleLbl="sibTrans2D1" presStyleIdx="4" presStyleCnt="5"/>
      <dgm:spPr/>
      <dgm:t>
        <a:bodyPr/>
        <a:lstStyle/>
        <a:p>
          <a:pPr rtl="1"/>
          <a:endParaRPr lang="fa-IR"/>
        </a:p>
      </dgm:t>
    </dgm:pt>
    <dgm:pt modelId="{E01EACA1-64CD-4A3F-AAD6-F09436B75788}" type="pres">
      <dgm:prSet presAssocID="{4E9ABBA7-B56A-45FF-9D80-113FAFA19CA2}" presName="connectorText" presStyleLbl="sibTrans2D1" presStyleIdx="4" presStyleCnt="5"/>
      <dgm:spPr/>
      <dgm:t>
        <a:bodyPr/>
        <a:lstStyle/>
        <a:p>
          <a:pPr rtl="1"/>
          <a:endParaRPr lang="fa-IR"/>
        </a:p>
      </dgm:t>
    </dgm:pt>
    <dgm:pt modelId="{CBD19B21-1C43-46A3-962F-0B2F24118901}" type="pres">
      <dgm:prSet presAssocID="{8879B510-401C-4532-9519-3F3DF5F5BB7B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</dgm:ptLst>
  <dgm:cxnLst>
    <dgm:cxn modelId="{FB97732B-C694-4565-95AC-B7BAD8572816}" type="presOf" srcId="{2B90D16D-48B1-4B01-9350-B213FE952BB1}" destId="{08AB5DF8-A7BE-4FC2-BF1D-795B678B4733}" srcOrd="0" destOrd="0" presId="urn:microsoft.com/office/officeart/2005/8/layout/radial5"/>
    <dgm:cxn modelId="{29D0AE69-D798-4F37-979F-47BDB8C9A387}" type="presOf" srcId="{4CC192AE-E793-4D92-B65D-C78225D2E38D}" destId="{11407F21-F028-4FBD-9F62-1190005AF0FB}" srcOrd="0" destOrd="0" presId="urn:microsoft.com/office/officeart/2005/8/layout/radial5"/>
    <dgm:cxn modelId="{E1B39434-D803-4154-AA30-6937D602F7CF}" type="presOf" srcId="{4E9ABBA7-B56A-45FF-9D80-113FAFA19CA2}" destId="{E01EACA1-64CD-4A3F-AAD6-F09436B75788}" srcOrd="1" destOrd="0" presId="urn:microsoft.com/office/officeart/2005/8/layout/radial5"/>
    <dgm:cxn modelId="{8FE42811-3E51-4B57-AA2F-06D1E240BEA4}" type="presOf" srcId="{B19635A0-16C9-4D6D-980F-8B1A92886FA5}" destId="{1033BA76-8646-4468-AC91-A9BD87F4BC25}" srcOrd="0" destOrd="0" presId="urn:microsoft.com/office/officeart/2005/8/layout/radial5"/>
    <dgm:cxn modelId="{C4FF6AFA-BD1E-4FE8-A0CF-EF81AAFF54C2}" type="presOf" srcId="{C2B2D00F-2BBB-4CB9-8869-D4E0AF946B44}" destId="{273C2782-3A41-456C-85D1-382F769D3345}" srcOrd="1" destOrd="0" presId="urn:microsoft.com/office/officeart/2005/8/layout/radial5"/>
    <dgm:cxn modelId="{05F357F2-CFA0-4EF2-BAF9-28F3EB051AEB}" type="presOf" srcId="{C2B2D00F-2BBB-4CB9-8869-D4E0AF946B44}" destId="{ABC1C840-7F93-41A6-9543-851AF436E18A}" srcOrd="0" destOrd="0" presId="urn:microsoft.com/office/officeart/2005/8/layout/radial5"/>
    <dgm:cxn modelId="{2DAECEDB-2057-4794-AB0A-A584CD219026}" srcId="{306F3121-45C7-43F2-BADC-19E3683E5D0E}" destId="{8879B510-401C-4532-9519-3F3DF5F5BB7B}" srcOrd="4" destOrd="0" parTransId="{4E9ABBA7-B56A-45FF-9D80-113FAFA19CA2}" sibTransId="{85316150-882E-4C17-AD75-1D91C53AE1D8}"/>
    <dgm:cxn modelId="{C56A5DC1-30FE-45B1-9BA7-D867208D7D60}" type="presOf" srcId="{306F3121-45C7-43F2-BADC-19E3683E5D0E}" destId="{9857AC93-91DF-488F-BF98-9866EEB30F36}" srcOrd="0" destOrd="0" presId="urn:microsoft.com/office/officeart/2005/8/layout/radial5"/>
    <dgm:cxn modelId="{79542CDE-A1A5-431E-95BB-CE6ABA48C2FB}" type="presOf" srcId="{A9DE227D-700D-4C5A-B228-6D32790C0361}" destId="{F705EE0F-9090-4C35-A6BC-B8CD355B539C}" srcOrd="0" destOrd="0" presId="urn:microsoft.com/office/officeart/2005/8/layout/radial5"/>
    <dgm:cxn modelId="{A4D29D1F-6CB9-4AB2-996E-90F55D4A38FC}" srcId="{306F3121-45C7-43F2-BADC-19E3683E5D0E}" destId="{80B65363-3EC3-449C-8968-59E855EAE44B}" srcOrd="3" destOrd="0" parTransId="{B19635A0-16C9-4D6D-980F-8B1A92886FA5}" sibTransId="{9CB13CE2-E5FA-4FA4-97FF-D59A2D430964}"/>
    <dgm:cxn modelId="{0825C1EC-29B9-43E5-BCE3-A4AA64CF997B}" srcId="{306F3121-45C7-43F2-BADC-19E3683E5D0E}" destId="{6941AFF1-9563-4391-AF0B-0C18C0BB5F32}" srcOrd="2" destOrd="0" parTransId="{A9DE227D-700D-4C5A-B228-6D32790C0361}" sibTransId="{4A128919-9B72-4915-98B7-D2B31C9A9A43}"/>
    <dgm:cxn modelId="{28F23B33-0AD1-4D86-AAC2-7F5837F67594}" type="presOf" srcId="{7CA2A07A-D154-48B2-B8E4-0D38BC7B46DA}" destId="{A6847F6D-869F-4FA8-BE36-B0C6BCFA798C}" srcOrd="0" destOrd="0" presId="urn:microsoft.com/office/officeart/2005/8/layout/radial5"/>
    <dgm:cxn modelId="{D034B172-9051-412D-ACC2-5926FD962101}" type="presOf" srcId="{B19635A0-16C9-4D6D-980F-8B1A92886FA5}" destId="{3EE14AC5-1D6E-43AE-B847-7DFEDB22CB00}" srcOrd="1" destOrd="0" presId="urn:microsoft.com/office/officeart/2005/8/layout/radial5"/>
    <dgm:cxn modelId="{8DCD139F-BEE2-4ECF-85E8-35A379142BEC}" type="presOf" srcId="{8879B510-401C-4532-9519-3F3DF5F5BB7B}" destId="{CBD19B21-1C43-46A3-962F-0B2F24118901}" srcOrd="0" destOrd="0" presId="urn:microsoft.com/office/officeart/2005/8/layout/radial5"/>
    <dgm:cxn modelId="{C75013B2-31B3-48FB-BAEC-A2AF74DA8C1C}" type="presOf" srcId="{9B0A19FA-A419-4EB2-813A-4501557DF0D8}" destId="{46359D73-4450-42A6-830D-FE77BBB99BAC}" srcOrd="0" destOrd="0" presId="urn:microsoft.com/office/officeart/2005/8/layout/radial5"/>
    <dgm:cxn modelId="{7DB35DCB-1F89-452F-9076-EAA111DF0B08}" type="presOf" srcId="{4E9ABBA7-B56A-45FF-9D80-113FAFA19CA2}" destId="{9F15C340-2BE3-478A-B957-35101C273FEA}" srcOrd="0" destOrd="0" presId="urn:microsoft.com/office/officeart/2005/8/layout/radial5"/>
    <dgm:cxn modelId="{10D9571D-2842-43AF-9B9E-22F33B34B1BC}" type="presOf" srcId="{A9DE227D-700D-4C5A-B228-6D32790C0361}" destId="{88FE6819-C7DE-4670-B9EE-76319709509B}" srcOrd="1" destOrd="0" presId="urn:microsoft.com/office/officeart/2005/8/layout/radial5"/>
    <dgm:cxn modelId="{A1949428-4154-43F3-BE3C-A0C6211E1B50}" srcId="{2B90D16D-48B1-4B01-9350-B213FE952BB1}" destId="{306F3121-45C7-43F2-BADC-19E3683E5D0E}" srcOrd="0" destOrd="0" parTransId="{D4A0A32B-40F7-47A6-BE9D-F95343F20CF7}" sibTransId="{E0C30F2F-C249-48AB-8AC1-D9ED9C1E2116}"/>
    <dgm:cxn modelId="{F54B7278-CFE3-4C53-AD3F-8F4CD7A33D54}" type="presOf" srcId="{6941AFF1-9563-4391-AF0B-0C18C0BB5F32}" destId="{8D8A490C-1DEE-45B9-ADBF-060420F410BB}" srcOrd="0" destOrd="0" presId="urn:microsoft.com/office/officeart/2005/8/layout/radial5"/>
    <dgm:cxn modelId="{A689DB0B-B883-4DB7-8F23-07B974FA8DE3}" type="presOf" srcId="{7CA2A07A-D154-48B2-B8E4-0D38BC7B46DA}" destId="{1E5585D1-340B-4984-A7BB-19D81AC50E66}" srcOrd="1" destOrd="0" presId="urn:microsoft.com/office/officeart/2005/8/layout/radial5"/>
    <dgm:cxn modelId="{2771AAC5-05BE-4852-A3F9-05489A6ADB7C}" type="presOf" srcId="{80B65363-3EC3-449C-8968-59E855EAE44B}" destId="{397ABF42-2C49-4BA0-B88E-15BD0E3DB7C5}" srcOrd="0" destOrd="0" presId="urn:microsoft.com/office/officeart/2005/8/layout/radial5"/>
    <dgm:cxn modelId="{76144057-2801-4A8B-9E32-5D8AB96D57B4}" srcId="{306F3121-45C7-43F2-BADC-19E3683E5D0E}" destId="{4CC192AE-E793-4D92-B65D-C78225D2E38D}" srcOrd="1" destOrd="0" parTransId="{7CA2A07A-D154-48B2-B8E4-0D38BC7B46DA}" sibTransId="{50127C91-5F3B-45DC-8BD1-2137C58D807B}"/>
    <dgm:cxn modelId="{D7094F79-C08B-4F0E-98E8-D4E67F761ADB}" srcId="{306F3121-45C7-43F2-BADC-19E3683E5D0E}" destId="{9B0A19FA-A419-4EB2-813A-4501557DF0D8}" srcOrd="0" destOrd="0" parTransId="{C2B2D00F-2BBB-4CB9-8869-D4E0AF946B44}" sibTransId="{F3A09763-BA32-430B-B590-8D0FDD6EBB0E}"/>
    <dgm:cxn modelId="{1AC69A93-2324-43B4-832D-454F29B14DC9}" type="presParOf" srcId="{08AB5DF8-A7BE-4FC2-BF1D-795B678B4733}" destId="{9857AC93-91DF-488F-BF98-9866EEB30F36}" srcOrd="0" destOrd="0" presId="urn:microsoft.com/office/officeart/2005/8/layout/radial5"/>
    <dgm:cxn modelId="{42DEDEF9-25EC-4A7D-8D63-23471F36E3D5}" type="presParOf" srcId="{08AB5DF8-A7BE-4FC2-BF1D-795B678B4733}" destId="{ABC1C840-7F93-41A6-9543-851AF436E18A}" srcOrd="1" destOrd="0" presId="urn:microsoft.com/office/officeart/2005/8/layout/radial5"/>
    <dgm:cxn modelId="{5EE00A4D-DB5D-408E-B8F4-F2C8B6A085D1}" type="presParOf" srcId="{ABC1C840-7F93-41A6-9543-851AF436E18A}" destId="{273C2782-3A41-456C-85D1-382F769D3345}" srcOrd="0" destOrd="0" presId="urn:microsoft.com/office/officeart/2005/8/layout/radial5"/>
    <dgm:cxn modelId="{CF140305-B9A1-4447-ADB6-4F211DBFC0BE}" type="presParOf" srcId="{08AB5DF8-A7BE-4FC2-BF1D-795B678B4733}" destId="{46359D73-4450-42A6-830D-FE77BBB99BAC}" srcOrd="2" destOrd="0" presId="urn:microsoft.com/office/officeart/2005/8/layout/radial5"/>
    <dgm:cxn modelId="{0B6BDD78-F6B0-4DCF-ACF3-7B63B7239B08}" type="presParOf" srcId="{08AB5DF8-A7BE-4FC2-BF1D-795B678B4733}" destId="{A6847F6D-869F-4FA8-BE36-B0C6BCFA798C}" srcOrd="3" destOrd="0" presId="urn:microsoft.com/office/officeart/2005/8/layout/radial5"/>
    <dgm:cxn modelId="{7A1C75DC-50C7-4FC6-99B3-AA90A034AAEA}" type="presParOf" srcId="{A6847F6D-869F-4FA8-BE36-B0C6BCFA798C}" destId="{1E5585D1-340B-4984-A7BB-19D81AC50E66}" srcOrd="0" destOrd="0" presId="urn:microsoft.com/office/officeart/2005/8/layout/radial5"/>
    <dgm:cxn modelId="{695E2202-4733-491B-ACCC-871D718C7CE4}" type="presParOf" srcId="{08AB5DF8-A7BE-4FC2-BF1D-795B678B4733}" destId="{11407F21-F028-4FBD-9F62-1190005AF0FB}" srcOrd="4" destOrd="0" presId="urn:microsoft.com/office/officeart/2005/8/layout/radial5"/>
    <dgm:cxn modelId="{81D1DBBE-E181-42FB-91B7-45A81B59A141}" type="presParOf" srcId="{08AB5DF8-A7BE-4FC2-BF1D-795B678B4733}" destId="{F705EE0F-9090-4C35-A6BC-B8CD355B539C}" srcOrd="5" destOrd="0" presId="urn:microsoft.com/office/officeart/2005/8/layout/radial5"/>
    <dgm:cxn modelId="{2FD70A89-9C4C-4D00-B6C2-F8D1D8ED818E}" type="presParOf" srcId="{F705EE0F-9090-4C35-A6BC-B8CD355B539C}" destId="{88FE6819-C7DE-4670-B9EE-76319709509B}" srcOrd="0" destOrd="0" presId="urn:microsoft.com/office/officeart/2005/8/layout/radial5"/>
    <dgm:cxn modelId="{CB3CC220-D7F4-4FB8-BD80-1CA6F9D659A2}" type="presParOf" srcId="{08AB5DF8-A7BE-4FC2-BF1D-795B678B4733}" destId="{8D8A490C-1DEE-45B9-ADBF-060420F410BB}" srcOrd="6" destOrd="0" presId="urn:microsoft.com/office/officeart/2005/8/layout/radial5"/>
    <dgm:cxn modelId="{4902C11F-4877-41AE-9889-1A71349E8EC6}" type="presParOf" srcId="{08AB5DF8-A7BE-4FC2-BF1D-795B678B4733}" destId="{1033BA76-8646-4468-AC91-A9BD87F4BC25}" srcOrd="7" destOrd="0" presId="urn:microsoft.com/office/officeart/2005/8/layout/radial5"/>
    <dgm:cxn modelId="{D44427AB-8919-4E91-BADA-914589AAA63C}" type="presParOf" srcId="{1033BA76-8646-4468-AC91-A9BD87F4BC25}" destId="{3EE14AC5-1D6E-43AE-B847-7DFEDB22CB00}" srcOrd="0" destOrd="0" presId="urn:microsoft.com/office/officeart/2005/8/layout/radial5"/>
    <dgm:cxn modelId="{F1CCB60A-9496-4AD1-8DD2-9358DA83C8AA}" type="presParOf" srcId="{08AB5DF8-A7BE-4FC2-BF1D-795B678B4733}" destId="{397ABF42-2C49-4BA0-B88E-15BD0E3DB7C5}" srcOrd="8" destOrd="0" presId="urn:microsoft.com/office/officeart/2005/8/layout/radial5"/>
    <dgm:cxn modelId="{A2417331-FD25-44C7-AA01-F057E3AF25BE}" type="presParOf" srcId="{08AB5DF8-A7BE-4FC2-BF1D-795B678B4733}" destId="{9F15C340-2BE3-478A-B957-35101C273FEA}" srcOrd="9" destOrd="0" presId="urn:microsoft.com/office/officeart/2005/8/layout/radial5"/>
    <dgm:cxn modelId="{1CA2D0F4-749B-41B1-BA8E-AA2F5036F9B8}" type="presParOf" srcId="{9F15C340-2BE3-478A-B957-35101C273FEA}" destId="{E01EACA1-64CD-4A3F-AAD6-F09436B75788}" srcOrd="0" destOrd="0" presId="urn:microsoft.com/office/officeart/2005/8/layout/radial5"/>
    <dgm:cxn modelId="{06D973DA-9A76-46C0-9715-30014E7E5DCC}" type="presParOf" srcId="{08AB5DF8-A7BE-4FC2-BF1D-795B678B4733}" destId="{CBD19B21-1C43-46A3-962F-0B2F24118901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B90D16D-48B1-4B01-9350-B213FE952BB1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B0A19FA-A419-4EB2-813A-4501557DF0D8}">
      <dgm:prSet phldrT="[Text]" custT="1"/>
      <dgm:spPr/>
      <dgm:t>
        <a:bodyPr/>
        <a:lstStyle/>
        <a:p>
          <a:r>
            <a:rPr lang="fa-IR" sz="2800" dirty="0" smtClean="0">
              <a:cs typeface="B Titr" panose="00000700000000000000" pitchFamily="2" charset="-78"/>
            </a:rPr>
            <a:t>هزینه</a:t>
          </a:r>
          <a:endParaRPr lang="en-US" sz="2800" dirty="0">
            <a:cs typeface="B Titr" panose="00000700000000000000" pitchFamily="2" charset="-78"/>
          </a:endParaRPr>
        </a:p>
      </dgm:t>
    </dgm:pt>
    <dgm:pt modelId="{C2B2D00F-2BBB-4CB9-8869-D4E0AF946B44}" type="parTrans" cxnId="{D7094F79-C08B-4F0E-98E8-D4E67F761AD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F3A09763-BA32-430B-B590-8D0FDD6EBB0E}" type="sibTrans" cxnId="{D7094F79-C08B-4F0E-98E8-D4E67F761AD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4CC192AE-E793-4D92-B65D-C78225D2E38D}">
      <dgm:prSet phldrT="[Text]"/>
      <dgm:spPr/>
      <dgm:t>
        <a:bodyPr/>
        <a:lstStyle/>
        <a:p>
          <a:r>
            <a:rPr lang="fa-IR" dirty="0" smtClean="0">
              <a:cs typeface="B Titr" panose="00000700000000000000" pitchFamily="2" charset="-78"/>
            </a:rPr>
            <a:t>اعتماد کاربران</a:t>
          </a:r>
          <a:endParaRPr lang="en-US" dirty="0">
            <a:cs typeface="B Titr" panose="00000700000000000000" pitchFamily="2" charset="-78"/>
          </a:endParaRPr>
        </a:p>
      </dgm:t>
    </dgm:pt>
    <dgm:pt modelId="{7CA2A07A-D154-48B2-B8E4-0D38BC7B46DA}" type="parTrans" cxnId="{76144057-2801-4A8B-9E32-5D8AB96D57B4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50127C91-5F3B-45DC-8BD1-2137C58D807B}" type="sibTrans" cxnId="{76144057-2801-4A8B-9E32-5D8AB96D57B4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6941AFF1-9563-4391-AF0B-0C18C0BB5F32}">
      <dgm:prSet phldrT="[Text]"/>
      <dgm:spPr/>
      <dgm:t>
        <a:bodyPr/>
        <a:lstStyle/>
        <a:p>
          <a:r>
            <a:rPr lang="fa-IR" dirty="0" smtClean="0">
              <a:cs typeface="B Titr" panose="00000700000000000000" pitchFamily="2" charset="-78"/>
            </a:rPr>
            <a:t>مشکلات فنّاورانه</a:t>
          </a:r>
          <a:endParaRPr lang="en-US" dirty="0">
            <a:cs typeface="B Titr" panose="00000700000000000000" pitchFamily="2" charset="-78"/>
          </a:endParaRPr>
        </a:p>
      </dgm:t>
    </dgm:pt>
    <dgm:pt modelId="{A9DE227D-700D-4C5A-B228-6D32790C0361}" type="parTrans" cxnId="{0825C1EC-29B9-43E5-BCE3-A4AA64CF997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4A128919-9B72-4915-98B7-D2B31C9A9A43}" type="sibTrans" cxnId="{0825C1EC-29B9-43E5-BCE3-A4AA64CF997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80B65363-3EC3-449C-8968-59E855EAE44B}">
      <dgm:prSet phldrT="[Text]"/>
      <dgm:spPr/>
      <dgm:t>
        <a:bodyPr/>
        <a:lstStyle/>
        <a:p>
          <a:r>
            <a:rPr lang="fa-IR" dirty="0" smtClean="0">
              <a:cs typeface="B Titr" panose="00000700000000000000" pitchFamily="2" charset="-78"/>
            </a:rPr>
            <a:t>نیروی کار</a:t>
          </a:r>
          <a:endParaRPr lang="en-US" dirty="0">
            <a:cs typeface="B Titr" panose="00000700000000000000" pitchFamily="2" charset="-78"/>
          </a:endParaRPr>
        </a:p>
      </dgm:t>
    </dgm:pt>
    <dgm:pt modelId="{B19635A0-16C9-4D6D-980F-8B1A92886FA5}" type="parTrans" cxnId="{A4D29D1F-6CB9-4AB2-996E-90F55D4A38FC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9CB13CE2-E5FA-4FA4-97FF-D59A2D430964}" type="sibTrans" cxnId="{A4D29D1F-6CB9-4AB2-996E-90F55D4A38FC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8879B510-401C-4532-9519-3F3DF5F5BB7B}">
      <dgm:prSet phldrT="[Text]"/>
      <dgm:spPr/>
      <dgm:t>
        <a:bodyPr/>
        <a:lstStyle/>
        <a:p>
          <a:r>
            <a:rPr lang="fa-IR" dirty="0" smtClean="0">
              <a:cs typeface="B Titr" panose="00000700000000000000" pitchFamily="2" charset="-78"/>
            </a:rPr>
            <a:t>سیاست‌های دولت</a:t>
          </a:r>
          <a:endParaRPr lang="en-US" dirty="0">
            <a:cs typeface="B Titr" panose="00000700000000000000" pitchFamily="2" charset="-78"/>
          </a:endParaRPr>
        </a:p>
      </dgm:t>
    </dgm:pt>
    <dgm:pt modelId="{4E9ABBA7-B56A-45FF-9D80-113FAFA19CA2}" type="parTrans" cxnId="{2DAECEDB-2057-4794-AB0A-A584CD219026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85316150-882E-4C17-AD75-1D91C53AE1D8}" type="sibTrans" cxnId="{2DAECEDB-2057-4794-AB0A-A584CD219026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306F3121-45C7-43F2-BADC-19E3683E5D0E}">
      <dgm:prSet phldrT="[Text]"/>
      <dgm:spPr/>
      <dgm:t>
        <a:bodyPr/>
        <a:lstStyle/>
        <a:p>
          <a:r>
            <a:rPr lang="fa-IR" dirty="0" smtClean="0">
              <a:cs typeface="B Titr" panose="00000700000000000000" pitchFamily="2" charset="-78"/>
            </a:rPr>
            <a:t>آمادگی الکترونیکی</a:t>
          </a:r>
          <a:endParaRPr lang="en-US" dirty="0">
            <a:cs typeface="B Titr" panose="00000700000000000000" pitchFamily="2" charset="-78"/>
          </a:endParaRPr>
        </a:p>
      </dgm:t>
    </dgm:pt>
    <dgm:pt modelId="{E0C30F2F-C249-48AB-8AC1-D9ED9C1E2116}" type="sibTrans" cxnId="{A1949428-4154-43F3-BE3C-A0C6211E1B50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D4A0A32B-40F7-47A6-BE9D-F95343F20CF7}" type="parTrans" cxnId="{A1949428-4154-43F3-BE3C-A0C6211E1B50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3F8DCA0D-209F-4ADD-87B6-F5F95AA3E007}">
      <dgm:prSet/>
      <dgm:spPr>
        <a:solidFill>
          <a:srgbClr val="8D8B45"/>
        </a:solidFill>
      </dgm:spPr>
      <dgm:t>
        <a:bodyPr/>
        <a:lstStyle/>
        <a:p>
          <a:r>
            <a:rPr lang="fa-IR" dirty="0" smtClean="0">
              <a:cs typeface="B Titr" panose="00000700000000000000" pitchFamily="2" charset="-78"/>
            </a:rPr>
            <a:t>پایداری کاربران</a:t>
          </a:r>
          <a:endParaRPr lang="en-US" dirty="0">
            <a:cs typeface="B Titr" panose="00000700000000000000" pitchFamily="2" charset="-78"/>
          </a:endParaRPr>
        </a:p>
      </dgm:t>
    </dgm:pt>
    <dgm:pt modelId="{289DAFA8-13A6-4E28-BF73-E3B0CA3673AD}" type="parTrans" cxnId="{C69995E6-A692-46DF-8947-7D5AC324AE88}">
      <dgm:prSet/>
      <dgm:spPr/>
      <dgm:t>
        <a:bodyPr/>
        <a:lstStyle/>
        <a:p>
          <a:endParaRPr lang="en-US"/>
        </a:p>
      </dgm:t>
    </dgm:pt>
    <dgm:pt modelId="{A87D4BA8-E096-4A68-A7DB-1EAC0E5F82E3}" type="sibTrans" cxnId="{C69995E6-A692-46DF-8947-7D5AC324AE88}">
      <dgm:prSet/>
      <dgm:spPr/>
      <dgm:t>
        <a:bodyPr/>
        <a:lstStyle/>
        <a:p>
          <a:endParaRPr lang="en-US"/>
        </a:p>
      </dgm:t>
    </dgm:pt>
    <dgm:pt modelId="{08AB5DF8-A7BE-4FC2-BF1D-795B678B4733}" type="pres">
      <dgm:prSet presAssocID="{2B90D16D-48B1-4B01-9350-B213FE952BB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rtl="1"/>
          <a:endParaRPr lang="fa-IR"/>
        </a:p>
      </dgm:t>
    </dgm:pt>
    <dgm:pt modelId="{9857AC93-91DF-488F-BF98-9866EEB30F36}" type="pres">
      <dgm:prSet presAssocID="{306F3121-45C7-43F2-BADC-19E3683E5D0E}" presName="centerShape" presStyleLbl="node0" presStyleIdx="0" presStyleCnt="1"/>
      <dgm:spPr/>
      <dgm:t>
        <a:bodyPr/>
        <a:lstStyle/>
        <a:p>
          <a:pPr rtl="1"/>
          <a:endParaRPr lang="fa-IR"/>
        </a:p>
      </dgm:t>
    </dgm:pt>
    <dgm:pt modelId="{ABC1C840-7F93-41A6-9543-851AF436E18A}" type="pres">
      <dgm:prSet presAssocID="{C2B2D00F-2BBB-4CB9-8869-D4E0AF946B44}" presName="parTrans" presStyleLbl="sibTrans2D1" presStyleIdx="0" presStyleCnt="6"/>
      <dgm:spPr/>
      <dgm:t>
        <a:bodyPr/>
        <a:lstStyle/>
        <a:p>
          <a:pPr rtl="1"/>
          <a:endParaRPr lang="fa-IR"/>
        </a:p>
      </dgm:t>
    </dgm:pt>
    <dgm:pt modelId="{273C2782-3A41-456C-85D1-382F769D3345}" type="pres">
      <dgm:prSet presAssocID="{C2B2D00F-2BBB-4CB9-8869-D4E0AF946B44}" presName="connectorText" presStyleLbl="sibTrans2D1" presStyleIdx="0" presStyleCnt="6"/>
      <dgm:spPr/>
      <dgm:t>
        <a:bodyPr/>
        <a:lstStyle/>
        <a:p>
          <a:pPr rtl="1"/>
          <a:endParaRPr lang="fa-IR"/>
        </a:p>
      </dgm:t>
    </dgm:pt>
    <dgm:pt modelId="{46359D73-4450-42A6-830D-FE77BBB99BAC}" type="pres">
      <dgm:prSet presAssocID="{9B0A19FA-A419-4EB2-813A-4501557DF0D8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A6847F6D-869F-4FA8-BE36-B0C6BCFA798C}" type="pres">
      <dgm:prSet presAssocID="{7CA2A07A-D154-48B2-B8E4-0D38BC7B46DA}" presName="parTrans" presStyleLbl="sibTrans2D1" presStyleIdx="1" presStyleCnt="6"/>
      <dgm:spPr/>
      <dgm:t>
        <a:bodyPr/>
        <a:lstStyle/>
        <a:p>
          <a:pPr rtl="1"/>
          <a:endParaRPr lang="fa-IR"/>
        </a:p>
      </dgm:t>
    </dgm:pt>
    <dgm:pt modelId="{1E5585D1-340B-4984-A7BB-19D81AC50E66}" type="pres">
      <dgm:prSet presAssocID="{7CA2A07A-D154-48B2-B8E4-0D38BC7B46DA}" presName="connectorText" presStyleLbl="sibTrans2D1" presStyleIdx="1" presStyleCnt="6"/>
      <dgm:spPr/>
      <dgm:t>
        <a:bodyPr/>
        <a:lstStyle/>
        <a:p>
          <a:pPr rtl="1"/>
          <a:endParaRPr lang="fa-IR"/>
        </a:p>
      </dgm:t>
    </dgm:pt>
    <dgm:pt modelId="{11407F21-F028-4FBD-9F62-1190005AF0FB}" type="pres">
      <dgm:prSet presAssocID="{4CC192AE-E793-4D92-B65D-C78225D2E38D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F705EE0F-9090-4C35-A6BC-B8CD355B539C}" type="pres">
      <dgm:prSet presAssocID="{A9DE227D-700D-4C5A-B228-6D32790C0361}" presName="parTrans" presStyleLbl="sibTrans2D1" presStyleIdx="2" presStyleCnt="6"/>
      <dgm:spPr/>
      <dgm:t>
        <a:bodyPr/>
        <a:lstStyle/>
        <a:p>
          <a:pPr rtl="1"/>
          <a:endParaRPr lang="fa-IR"/>
        </a:p>
      </dgm:t>
    </dgm:pt>
    <dgm:pt modelId="{88FE6819-C7DE-4670-B9EE-76319709509B}" type="pres">
      <dgm:prSet presAssocID="{A9DE227D-700D-4C5A-B228-6D32790C0361}" presName="connectorText" presStyleLbl="sibTrans2D1" presStyleIdx="2" presStyleCnt="6"/>
      <dgm:spPr/>
      <dgm:t>
        <a:bodyPr/>
        <a:lstStyle/>
        <a:p>
          <a:pPr rtl="1"/>
          <a:endParaRPr lang="fa-IR"/>
        </a:p>
      </dgm:t>
    </dgm:pt>
    <dgm:pt modelId="{8D8A490C-1DEE-45B9-ADBF-060420F410BB}" type="pres">
      <dgm:prSet presAssocID="{6941AFF1-9563-4391-AF0B-0C18C0BB5F32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33BA76-8646-4468-AC91-A9BD87F4BC25}" type="pres">
      <dgm:prSet presAssocID="{B19635A0-16C9-4D6D-980F-8B1A92886FA5}" presName="parTrans" presStyleLbl="sibTrans2D1" presStyleIdx="3" presStyleCnt="6"/>
      <dgm:spPr/>
      <dgm:t>
        <a:bodyPr/>
        <a:lstStyle/>
        <a:p>
          <a:pPr rtl="1"/>
          <a:endParaRPr lang="fa-IR"/>
        </a:p>
      </dgm:t>
    </dgm:pt>
    <dgm:pt modelId="{3EE14AC5-1D6E-43AE-B847-7DFEDB22CB00}" type="pres">
      <dgm:prSet presAssocID="{B19635A0-16C9-4D6D-980F-8B1A92886FA5}" presName="connectorText" presStyleLbl="sibTrans2D1" presStyleIdx="3" presStyleCnt="6"/>
      <dgm:spPr/>
      <dgm:t>
        <a:bodyPr/>
        <a:lstStyle/>
        <a:p>
          <a:pPr rtl="1"/>
          <a:endParaRPr lang="fa-IR"/>
        </a:p>
      </dgm:t>
    </dgm:pt>
    <dgm:pt modelId="{397ABF42-2C49-4BA0-B88E-15BD0E3DB7C5}" type="pres">
      <dgm:prSet presAssocID="{80B65363-3EC3-449C-8968-59E855EAE44B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9F15C340-2BE3-478A-B957-35101C273FEA}" type="pres">
      <dgm:prSet presAssocID="{4E9ABBA7-B56A-45FF-9D80-113FAFA19CA2}" presName="parTrans" presStyleLbl="sibTrans2D1" presStyleIdx="4" presStyleCnt="6"/>
      <dgm:spPr/>
      <dgm:t>
        <a:bodyPr/>
        <a:lstStyle/>
        <a:p>
          <a:pPr rtl="1"/>
          <a:endParaRPr lang="fa-IR"/>
        </a:p>
      </dgm:t>
    </dgm:pt>
    <dgm:pt modelId="{E01EACA1-64CD-4A3F-AAD6-F09436B75788}" type="pres">
      <dgm:prSet presAssocID="{4E9ABBA7-B56A-45FF-9D80-113FAFA19CA2}" presName="connectorText" presStyleLbl="sibTrans2D1" presStyleIdx="4" presStyleCnt="6"/>
      <dgm:spPr/>
      <dgm:t>
        <a:bodyPr/>
        <a:lstStyle/>
        <a:p>
          <a:pPr rtl="1"/>
          <a:endParaRPr lang="fa-IR"/>
        </a:p>
      </dgm:t>
    </dgm:pt>
    <dgm:pt modelId="{CBD19B21-1C43-46A3-962F-0B2F24118901}" type="pres">
      <dgm:prSet presAssocID="{8879B510-401C-4532-9519-3F3DF5F5BB7B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97101A77-083F-400D-9763-059D110888FC}" type="pres">
      <dgm:prSet presAssocID="{289DAFA8-13A6-4E28-BF73-E3B0CA3673AD}" presName="parTrans" presStyleLbl="sibTrans2D1" presStyleIdx="5" presStyleCnt="6"/>
      <dgm:spPr/>
      <dgm:t>
        <a:bodyPr/>
        <a:lstStyle/>
        <a:p>
          <a:pPr rtl="1"/>
          <a:endParaRPr lang="fa-IR"/>
        </a:p>
      </dgm:t>
    </dgm:pt>
    <dgm:pt modelId="{86826395-F3FA-43FE-9E37-D63E359EE6E5}" type="pres">
      <dgm:prSet presAssocID="{289DAFA8-13A6-4E28-BF73-E3B0CA3673AD}" presName="connectorText" presStyleLbl="sibTrans2D1" presStyleIdx="5" presStyleCnt="6"/>
      <dgm:spPr/>
      <dgm:t>
        <a:bodyPr/>
        <a:lstStyle/>
        <a:p>
          <a:pPr rtl="1"/>
          <a:endParaRPr lang="fa-IR"/>
        </a:p>
      </dgm:t>
    </dgm:pt>
    <dgm:pt modelId="{70F9E6C6-F971-467A-A950-35C387B45D92}" type="pres">
      <dgm:prSet presAssocID="{3F8DCA0D-209F-4ADD-87B6-F5F95AA3E007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</dgm:ptLst>
  <dgm:cxnLst>
    <dgm:cxn modelId="{F54B7278-CFE3-4C53-AD3F-8F4CD7A33D54}" type="presOf" srcId="{6941AFF1-9563-4391-AF0B-0C18C0BB5F32}" destId="{8D8A490C-1DEE-45B9-ADBF-060420F410BB}" srcOrd="0" destOrd="0" presId="urn:microsoft.com/office/officeart/2005/8/layout/radial5"/>
    <dgm:cxn modelId="{29D0AE69-D798-4F37-979F-47BDB8C9A387}" type="presOf" srcId="{4CC192AE-E793-4D92-B65D-C78225D2E38D}" destId="{11407F21-F028-4FBD-9F62-1190005AF0FB}" srcOrd="0" destOrd="0" presId="urn:microsoft.com/office/officeart/2005/8/layout/radial5"/>
    <dgm:cxn modelId="{79542CDE-A1A5-431E-95BB-CE6ABA48C2FB}" type="presOf" srcId="{A9DE227D-700D-4C5A-B228-6D32790C0361}" destId="{F705EE0F-9090-4C35-A6BC-B8CD355B539C}" srcOrd="0" destOrd="0" presId="urn:microsoft.com/office/officeart/2005/8/layout/radial5"/>
    <dgm:cxn modelId="{36137AA8-36D8-4195-844E-AB23D257CEE3}" type="presOf" srcId="{289DAFA8-13A6-4E28-BF73-E3B0CA3673AD}" destId="{97101A77-083F-400D-9763-059D110888FC}" srcOrd="0" destOrd="0" presId="urn:microsoft.com/office/officeart/2005/8/layout/radial5"/>
    <dgm:cxn modelId="{A689DB0B-B883-4DB7-8F23-07B974FA8DE3}" type="presOf" srcId="{7CA2A07A-D154-48B2-B8E4-0D38BC7B46DA}" destId="{1E5585D1-340B-4984-A7BB-19D81AC50E66}" srcOrd="1" destOrd="0" presId="urn:microsoft.com/office/officeart/2005/8/layout/radial5"/>
    <dgm:cxn modelId="{76144057-2801-4A8B-9E32-5D8AB96D57B4}" srcId="{306F3121-45C7-43F2-BADC-19E3683E5D0E}" destId="{4CC192AE-E793-4D92-B65D-C78225D2E38D}" srcOrd="1" destOrd="0" parTransId="{7CA2A07A-D154-48B2-B8E4-0D38BC7B46DA}" sibTransId="{50127C91-5F3B-45DC-8BD1-2137C58D807B}"/>
    <dgm:cxn modelId="{0825C1EC-29B9-43E5-BCE3-A4AA64CF997B}" srcId="{306F3121-45C7-43F2-BADC-19E3683E5D0E}" destId="{6941AFF1-9563-4391-AF0B-0C18C0BB5F32}" srcOrd="2" destOrd="0" parTransId="{A9DE227D-700D-4C5A-B228-6D32790C0361}" sibTransId="{4A128919-9B72-4915-98B7-D2B31C9A9A43}"/>
    <dgm:cxn modelId="{10D9571D-2842-43AF-9B9E-22F33B34B1BC}" type="presOf" srcId="{A9DE227D-700D-4C5A-B228-6D32790C0361}" destId="{88FE6819-C7DE-4670-B9EE-76319709509B}" srcOrd="1" destOrd="0" presId="urn:microsoft.com/office/officeart/2005/8/layout/radial5"/>
    <dgm:cxn modelId="{28F23B33-0AD1-4D86-AAC2-7F5837F67594}" type="presOf" srcId="{7CA2A07A-D154-48B2-B8E4-0D38BC7B46DA}" destId="{A6847F6D-869F-4FA8-BE36-B0C6BCFA798C}" srcOrd="0" destOrd="0" presId="urn:microsoft.com/office/officeart/2005/8/layout/radial5"/>
    <dgm:cxn modelId="{A4D29D1F-6CB9-4AB2-996E-90F55D4A38FC}" srcId="{306F3121-45C7-43F2-BADC-19E3683E5D0E}" destId="{80B65363-3EC3-449C-8968-59E855EAE44B}" srcOrd="3" destOrd="0" parTransId="{B19635A0-16C9-4D6D-980F-8B1A92886FA5}" sibTransId="{9CB13CE2-E5FA-4FA4-97FF-D59A2D430964}"/>
    <dgm:cxn modelId="{2771AAC5-05BE-4852-A3F9-05489A6ADB7C}" type="presOf" srcId="{80B65363-3EC3-449C-8968-59E855EAE44B}" destId="{397ABF42-2C49-4BA0-B88E-15BD0E3DB7C5}" srcOrd="0" destOrd="0" presId="urn:microsoft.com/office/officeart/2005/8/layout/radial5"/>
    <dgm:cxn modelId="{8D3A4D96-DEA2-4330-8C56-4F17E6B89486}" type="presOf" srcId="{289DAFA8-13A6-4E28-BF73-E3B0CA3673AD}" destId="{86826395-F3FA-43FE-9E37-D63E359EE6E5}" srcOrd="1" destOrd="0" presId="urn:microsoft.com/office/officeart/2005/8/layout/radial5"/>
    <dgm:cxn modelId="{05F357F2-CFA0-4EF2-BAF9-28F3EB051AEB}" type="presOf" srcId="{C2B2D00F-2BBB-4CB9-8869-D4E0AF946B44}" destId="{ABC1C840-7F93-41A6-9543-851AF436E18A}" srcOrd="0" destOrd="0" presId="urn:microsoft.com/office/officeart/2005/8/layout/radial5"/>
    <dgm:cxn modelId="{C56A5DC1-30FE-45B1-9BA7-D867208D7D60}" type="presOf" srcId="{306F3121-45C7-43F2-BADC-19E3683E5D0E}" destId="{9857AC93-91DF-488F-BF98-9866EEB30F36}" srcOrd="0" destOrd="0" presId="urn:microsoft.com/office/officeart/2005/8/layout/radial5"/>
    <dgm:cxn modelId="{D7094F79-C08B-4F0E-98E8-D4E67F761ADB}" srcId="{306F3121-45C7-43F2-BADC-19E3683E5D0E}" destId="{9B0A19FA-A419-4EB2-813A-4501557DF0D8}" srcOrd="0" destOrd="0" parTransId="{C2B2D00F-2BBB-4CB9-8869-D4E0AF946B44}" sibTransId="{F3A09763-BA32-430B-B590-8D0FDD6EBB0E}"/>
    <dgm:cxn modelId="{8DCD139F-BEE2-4ECF-85E8-35A379142BEC}" type="presOf" srcId="{8879B510-401C-4532-9519-3F3DF5F5BB7B}" destId="{CBD19B21-1C43-46A3-962F-0B2F24118901}" srcOrd="0" destOrd="0" presId="urn:microsoft.com/office/officeart/2005/8/layout/radial5"/>
    <dgm:cxn modelId="{C4FF6AFA-BD1E-4FE8-A0CF-EF81AAFF54C2}" type="presOf" srcId="{C2B2D00F-2BBB-4CB9-8869-D4E0AF946B44}" destId="{273C2782-3A41-456C-85D1-382F769D3345}" srcOrd="1" destOrd="0" presId="urn:microsoft.com/office/officeart/2005/8/layout/radial5"/>
    <dgm:cxn modelId="{FB97732B-C694-4565-95AC-B7BAD8572816}" type="presOf" srcId="{2B90D16D-48B1-4B01-9350-B213FE952BB1}" destId="{08AB5DF8-A7BE-4FC2-BF1D-795B678B4733}" srcOrd="0" destOrd="0" presId="urn:microsoft.com/office/officeart/2005/8/layout/radial5"/>
    <dgm:cxn modelId="{C69995E6-A692-46DF-8947-7D5AC324AE88}" srcId="{306F3121-45C7-43F2-BADC-19E3683E5D0E}" destId="{3F8DCA0D-209F-4ADD-87B6-F5F95AA3E007}" srcOrd="5" destOrd="0" parTransId="{289DAFA8-13A6-4E28-BF73-E3B0CA3673AD}" sibTransId="{A87D4BA8-E096-4A68-A7DB-1EAC0E5F82E3}"/>
    <dgm:cxn modelId="{E1B39434-D803-4154-AA30-6937D602F7CF}" type="presOf" srcId="{4E9ABBA7-B56A-45FF-9D80-113FAFA19CA2}" destId="{E01EACA1-64CD-4A3F-AAD6-F09436B75788}" srcOrd="1" destOrd="0" presId="urn:microsoft.com/office/officeart/2005/8/layout/radial5"/>
    <dgm:cxn modelId="{7DB35DCB-1F89-452F-9076-EAA111DF0B08}" type="presOf" srcId="{4E9ABBA7-B56A-45FF-9D80-113FAFA19CA2}" destId="{9F15C340-2BE3-478A-B957-35101C273FEA}" srcOrd="0" destOrd="0" presId="urn:microsoft.com/office/officeart/2005/8/layout/radial5"/>
    <dgm:cxn modelId="{4E194D21-787A-40D1-BD76-5356BF9E62D3}" type="presOf" srcId="{3F8DCA0D-209F-4ADD-87B6-F5F95AA3E007}" destId="{70F9E6C6-F971-467A-A950-35C387B45D92}" srcOrd="0" destOrd="0" presId="urn:microsoft.com/office/officeart/2005/8/layout/radial5"/>
    <dgm:cxn modelId="{8FE42811-3E51-4B57-AA2F-06D1E240BEA4}" type="presOf" srcId="{B19635A0-16C9-4D6D-980F-8B1A92886FA5}" destId="{1033BA76-8646-4468-AC91-A9BD87F4BC25}" srcOrd="0" destOrd="0" presId="urn:microsoft.com/office/officeart/2005/8/layout/radial5"/>
    <dgm:cxn modelId="{D034B172-9051-412D-ACC2-5926FD962101}" type="presOf" srcId="{B19635A0-16C9-4D6D-980F-8B1A92886FA5}" destId="{3EE14AC5-1D6E-43AE-B847-7DFEDB22CB00}" srcOrd="1" destOrd="0" presId="urn:microsoft.com/office/officeart/2005/8/layout/radial5"/>
    <dgm:cxn modelId="{2DAECEDB-2057-4794-AB0A-A584CD219026}" srcId="{306F3121-45C7-43F2-BADC-19E3683E5D0E}" destId="{8879B510-401C-4532-9519-3F3DF5F5BB7B}" srcOrd="4" destOrd="0" parTransId="{4E9ABBA7-B56A-45FF-9D80-113FAFA19CA2}" sibTransId="{85316150-882E-4C17-AD75-1D91C53AE1D8}"/>
    <dgm:cxn modelId="{C75013B2-31B3-48FB-BAEC-A2AF74DA8C1C}" type="presOf" srcId="{9B0A19FA-A419-4EB2-813A-4501557DF0D8}" destId="{46359D73-4450-42A6-830D-FE77BBB99BAC}" srcOrd="0" destOrd="0" presId="urn:microsoft.com/office/officeart/2005/8/layout/radial5"/>
    <dgm:cxn modelId="{A1949428-4154-43F3-BE3C-A0C6211E1B50}" srcId="{2B90D16D-48B1-4B01-9350-B213FE952BB1}" destId="{306F3121-45C7-43F2-BADC-19E3683E5D0E}" srcOrd="0" destOrd="0" parTransId="{D4A0A32B-40F7-47A6-BE9D-F95343F20CF7}" sibTransId="{E0C30F2F-C249-48AB-8AC1-D9ED9C1E2116}"/>
    <dgm:cxn modelId="{1AC69A93-2324-43B4-832D-454F29B14DC9}" type="presParOf" srcId="{08AB5DF8-A7BE-4FC2-BF1D-795B678B4733}" destId="{9857AC93-91DF-488F-BF98-9866EEB30F36}" srcOrd="0" destOrd="0" presId="urn:microsoft.com/office/officeart/2005/8/layout/radial5"/>
    <dgm:cxn modelId="{42DEDEF9-25EC-4A7D-8D63-23471F36E3D5}" type="presParOf" srcId="{08AB5DF8-A7BE-4FC2-BF1D-795B678B4733}" destId="{ABC1C840-7F93-41A6-9543-851AF436E18A}" srcOrd="1" destOrd="0" presId="urn:microsoft.com/office/officeart/2005/8/layout/radial5"/>
    <dgm:cxn modelId="{5EE00A4D-DB5D-408E-B8F4-F2C8B6A085D1}" type="presParOf" srcId="{ABC1C840-7F93-41A6-9543-851AF436E18A}" destId="{273C2782-3A41-456C-85D1-382F769D3345}" srcOrd="0" destOrd="0" presId="urn:microsoft.com/office/officeart/2005/8/layout/radial5"/>
    <dgm:cxn modelId="{CF140305-B9A1-4447-ADB6-4F211DBFC0BE}" type="presParOf" srcId="{08AB5DF8-A7BE-4FC2-BF1D-795B678B4733}" destId="{46359D73-4450-42A6-830D-FE77BBB99BAC}" srcOrd="2" destOrd="0" presId="urn:microsoft.com/office/officeart/2005/8/layout/radial5"/>
    <dgm:cxn modelId="{0B6BDD78-F6B0-4DCF-ACF3-7B63B7239B08}" type="presParOf" srcId="{08AB5DF8-A7BE-4FC2-BF1D-795B678B4733}" destId="{A6847F6D-869F-4FA8-BE36-B0C6BCFA798C}" srcOrd="3" destOrd="0" presId="urn:microsoft.com/office/officeart/2005/8/layout/radial5"/>
    <dgm:cxn modelId="{7A1C75DC-50C7-4FC6-99B3-AA90A034AAEA}" type="presParOf" srcId="{A6847F6D-869F-4FA8-BE36-B0C6BCFA798C}" destId="{1E5585D1-340B-4984-A7BB-19D81AC50E66}" srcOrd="0" destOrd="0" presId="urn:microsoft.com/office/officeart/2005/8/layout/radial5"/>
    <dgm:cxn modelId="{695E2202-4733-491B-ACCC-871D718C7CE4}" type="presParOf" srcId="{08AB5DF8-A7BE-4FC2-BF1D-795B678B4733}" destId="{11407F21-F028-4FBD-9F62-1190005AF0FB}" srcOrd="4" destOrd="0" presId="urn:microsoft.com/office/officeart/2005/8/layout/radial5"/>
    <dgm:cxn modelId="{81D1DBBE-E181-42FB-91B7-45A81B59A141}" type="presParOf" srcId="{08AB5DF8-A7BE-4FC2-BF1D-795B678B4733}" destId="{F705EE0F-9090-4C35-A6BC-B8CD355B539C}" srcOrd="5" destOrd="0" presId="urn:microsoft.com/office/officeart/2005/8/layout/radial5"/>
    <dgm:cxn modelId="{2FD70A89-9C4C-4D00-B6C2-F8D1D8ED818E}" type="presParOf" srcId="{F705EE0F-9090-4C35-A6BC-B8CD355B539C}" destId="{88FE6819-C7DE-4670-B9EE-76319709509B}" srcOrd="0" destOrd="0" presId="urn:microsoft.com/office/officeart/2005/8/layout/radial5"/>
    <dgm:cxn modelId="{CB3CC220-D7F4-4FB8-BD80-1CA6F9D659A2}" type="presParOf" srcId="{08AB5DF8-A7BE-4FC2-BF1D-795B678B4733}" destId="{8D8A490C-1DEE-45B9-ADBF-060420F410BB}" srcOrd="6" destOrd="0" presId="urn:microsoft.com/office/officeart/2005/8/layout/radial5"/>
    <dgm:cxn modelId="{4902C11F-4877-41AE-9889-1A71349E8EC6}" type="presParOf" srcId="{08AB5DF8-A7BE-4FC2-BF1D-795B678B4733}" destId="{1033BA76-8646-4468-AC91-A9BD87F4BC25}" srcOrd="7" destOrd="0" presId="urn:microsoft.com/office/officeart/2005/8/layout/radial5"/>
    <dgm:cxn modelId="{D44427AB-8919-4E91-BADA-914589AAA63C}" type="presParOf" srcId="{1033BA76-8646-4468-AC91-A9BD87F4BC25}" destId="{3EE14AC5-1D6E-43AE-B847-7DFEDB22CB00}" srcOrd="0" destOrd="0" presId="urn:microsoft.com/office/officeart/2005/8/layout/radial5"/>
    <dgm:cxn modelId="{F1CCB60A-9496-4AD1-8DD2-9358DA83C8AA}" type="presParOf" srcId="{08AB5DF8-A7BE-4FC2-BF1D-795B678B4733}" destId="{397ABF42-2C49-4BA0-B88E-15BD0E3DB7C5}" srcOrd="8" destOrd="0" presId="urn:microsoft.com/office/officeart/2005/8/layout/radial5"/>
    <dgm:cxn modelId="{A2417331-FD25-44C7-AA01-F057E3AF25BE}" type="presParOf" srcId="{08AB5DF8-A7BE-4FC2-BF1D-795B678B4733}" destId="{9F15C340-2BE3-478A-B957-35101C273FEA}" srcOrd="9" destOrd="0" presId="urn:microsoft.com/office/officeart/2005/8/layout/radial5"/>
    <dgm:cxn modelId="{1CA2D0F4-749B-41B1-BA8E-AA2F5036F9B8}" type="presParOf" srcId="{9F15C340-2BE3-478A-B957-35101C273FEA}" destId="{E01EACA1-64CD-4A3F-AAD6-F09436B75788}" srcOrd="0" destOrd="0" presId="urn:microsoft.com/office/officeart/2005/8/layout/radial5"/>
    <dgm:cxn modelId="{06D973DA-9A76-46C0-9715-30014E7E5DCC}" type="presParOf" srcId="{08AB5DF8-A7BE-4FC2-BF1D-795B678B4733}" destId="{CBD19B21-1C43-46A3-962F-0B2F24118901}" srcOrd="10" destOrd="0" presId="urn:microsoft.com/office/officeart/2005/8/layout/radial5"/>
    <dgm:cxn modelId="{5F44B792-ACDB-4988-89E8-B6938D5DB2B8}" type="presParOf" srcId="{08AB5DF8-A7BE-4FC2-BF1D-795B678B4733}" destId="{97101A77-083F-400D-9763-059D110888FC}" srcOrd="11" destOrd="0" presId="urn:microsoft.com/office/officeart/2005/8/layout/radial5"/>
    <dgm:cxn modelId="{A9076531-A41A-4122-9D0F-326ED54F8853}" type="presParOf" srcId="{97101A77-083F-400D-9763-059D110888FC}" destId="{86826395-F3FA-43FE-9E37-D63E359EE6E5}" srcOrd="0" destOrd="0" presId="urn:microsoft.com/office/officeart/2005/8/layout/radial5"/>
    <dgm:cxn modelId="{9A47A694-554C-4D4D-A33D-158EF243A8DC}" type="presParOf" srcId="{08AB5DF8-A7BE-4FC2-BF1D-795B678B4733}" destId="{70F9E6C6-F971-467A-A950-35C387B45D92}" srcOrd="12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B90D16D-48B1-4B01-9350-B213FE952BB1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B0A19FA-A419-4EB2-813A-4501557DF0D8}">
      <dgm:prSet phldrT="[Text]" custT="1"/>
      <dgm:spPr>
        <a:solidFill>
          <a:srgbClr val="00B0F0"/>
        </a:solidFill>
      </dgm:spPr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مدیریت تغییر</a:t>
          </a:r>
          <a:endParaRPr lang="en-US" sz="1800" dirty="0">
            <a:cs typeface="B Titr" panose="00000700000000000000" pitchFamily="2" charset="-78"/>
          </a:endParaRPr>
        </a:p>
      </dgm:t>
    </dgm:pt>
    <dgm:pt modelId="{C2B2D00F-2BBB-4CB9-8869-D4E0AF946B44}" type="parTrans" cxnId="{D7094F79-C08B-4F0E-98E8-D4E67F761ADB}">
      <dgm:prSet/>
      <dgm:spPr>
        <a:solidFill>
          <a:srgbClr val="00B0F0"/>
        </a:solidFill>
      </dgm:spPr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F3A09763-BA32-430B-B590-8D0FDD6EBB0E}" type="sibTrans" cxnId="{D7094F79-C08B-4F0E-98E8-D4E67F761AD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4CC192AE-E793-4D92-B65D-C78225D2E38D}">
      <dgm:prSet phldrT="[Text]" custT="1"/>
      <dgm:spPr/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نوآوری مجدد ساختار آموزشی</a:t>
          </a:r>
          <a:endParaRPr lang="en-US" sz="1800" dirty="0">
            <a:cs typeface="B Titr" panose="00000700000000000000" pitchFamily="2" charset="-78"/>
          </a:endParaRPr>
        </a:p>
      </dgm:t>
    </dgm:pt>
    <dgm:pt modelId="{7CA2A07A-D154-48B2-B8E4-0D38BC7B46DA}" type="parTrans" cxnId="{76144057-2801-4A8B-9E32-5D8AB96D57B4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50127C91-5F3B-45DC-8BD1-2137C58D807B}" type="sibTrans" cxnId="{76144057-2801-4A8B-9E32-5D8AB96D57B4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6941AFF1-9563-4391-AF0B-0C18C0BB5F32}">
      <dgm:prSet phldrT="[Text]" custT="1"/>
      <dgm:spPr/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صنعت یادگیری الکترونیکی</a:t>
          </a:r>
          <a:endParaRPr lang="en-US" sz="1800" dirty="0">
            <a:cs typeface="B Titr" panose="00000700000000000000" pitchFamily="2" charset="-78"/>
          </a:endParaRPr>
        </a:p>
      </dgm:t>
    </dgm:pt>
    <dgm:pt modelId="{A9DE227D-700D-4C5A-B228-6D32790C0361}" type="parTrans" cxnId="{0825C1EC-29B9-43E5-BCE3-A4AA64CF997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4A128919-9B72-4915-98B7-D2B31C9A9A43}" type="sibTrans" cxnId="{0825C1EC-29B9-43E5-BCE3-A4AA64CF997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80B65363-3EC3-449C-8968-59E855EAE44B}">
      <dgm:prSet phldrT="[Text]" custT="1"/>
      <dgm:spPr/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تعهد کارکنان</a:t>
          </a:r>
          <a:endParaRPr lang="en-US" sz="1800" dirty="0">
            <a:cs typeface="B Titr" panose="00000700000000000000" pitchFamily="2" charset="-78"/>
          </a:endParaRPr>
        </a:p>
      </dgm:t>
    </dgm:pt>
    <dgm:pt modelId="{B19635A0-16C9-4D6D-980F-8B1A92886FA5}" type="parTrans" cxnId="{A4D29D1F-6CB9-4AB2-996E-90F55D4A38FC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9CB13CE2-E5FA-4FA4-97FF-D59A2D430964}" type="sibTrans" cxnId="{A4D29D1F-6CB9-4AB2-996E-90F55D4A38FC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8879B510-401C-4532-9519-3F3DF5F5BB7B}">
      <dgm:prSet phldrT="[Text]" custT="1"/>
      <dgm:spPr/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ارزش آموزش و طراحی اطلاعات </a:t>
          </a:r>
          <a:endParaRPr lang="en-US" sz="1800" dirty="0">
            <a:cs typeface="B Titr" panose="00000700000000000000" pitchFamily="2" charset="-78"/>
          </a:endParaRPr>
        </a:p>
      </dgm:t>
    </dgm:pt>
    <dgm:pt modelId="{4E9ABBA7-B56A-45FF-9D80-113FAFA19CA2}" type="parTrans" cxnId="{2DAECEDB-2057-4794-AB0A-A584CD219026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85316150-882E-4C17-AD75-1D91C53AE1D8}" type="sibTrans" cxnId="{2DAECEDB-2057-4794-AB0A-A584CD219026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306F3121-45C7-43F2-BADC-19E3683E5D0E}">
      <dgm:prSet phldrT="[Text]"/>
      <dgm:spPr/>
      <dgm:t>
        <a:bodyPr/>
        <a:lstStyle/>
        <a:p>
          <a:r>
            <a:rPr lang="fa-IR" dirty="0" smtClean="0">
              <a:cs typeface="B Titr" panose="00000700000000000000" pitchFamily="2" charset="-78"/>
            </a:rPr>
            <a:t>آمادگی الکترونیکی</a:t>
          </a:r>
          <a:endParaRPr lang="en-US" dirty="0">
            <a:cs typeface="B Titr" panose="00000700000000000000" pitchFamily="2" charset="-78"/>
          </a:endParaRPr>
        </a:p>
      </dgm:t>
    </dgm:pt>
    <dgm:pt modelId="{E0C30F2F-C249-48AB-8AC1-D9ED9C1E2116}" type="sibTrans" cxnId="{A1949428-4154-43F3-BE3C-A0C6211E1B50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D4A0A32B-40F7-47A6-BE9D-F95343F20CF7}" type="parTrans" cxnId="{A1949428-4154-43F3-BE3C-A0C6211E1B50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3F8DCA0D-209F-4ADD-87B6-F5F95AA3E007}">
      <dgm:prSet custT="1"/>
      <dgm:spPr/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آمادگی تجاری</a:t>
          </a:r>
          <a:endParaRPr lang="en-US" sz="1800" dirty="0">
            <a:cs typeface="B Titr" panose="00000700000000000000" pitchFamily="2" charset="-78"/>
          </a:endParaRPr>
        </a:p>
      </dgm:t>
    </dgm:pt>
    <dgm:pt modelId="{289DAFA8-13A6-4E28-BF73-E3B0CA3673AD}" type="parTrans" cxnId="{C69995E6-A692-46DF-8947-7D5AC324AE88}">
      <dgm:prSet/>
      <dgm:spPr/>
      <dgm:t>
        <a:bodyPr/>
        <a:lstStyle/>
        <a:p>
          <a:endParaRPr lang="en-US"/>
        </a:p>
      </dgm:t>
    </dgm:pt>
    <dgm:pt modelId="{A87D4BA8-E096-4A68-A7DB-1EAC0E5F82E3}" type="sibTrans" cxnId="{C69995E6-A692-46DF-8947-7D5AC324AE88}">
      <dgm:prSet/>
      <dgm:spPr/>
      <dgm:t>
        <a:bodyPr/>
        <a:lstStyle/>
        <a:p>
          <a:endParaRPr lang="en-US"/>
        </a:p>
      </dgm:t>
    </dgm:pt>
    <dgm:pt modelId="{E4300881-9C59-44D9-8F51-050902D1ED66}">
      <dgm:prSet custT="1"/>
      <dgm:spPr>
        <a:solidFill>
          <a:srgbClr val="7030A0"/>
        </a:solidFill>
      </dgm:spPr>
      <dgm:t>
        <a:bodyPr/>
        <a:lstStyle/>
        <a:p>
          <a:pPr rtl="1"/>
          <a:r>
            <a:rPr lang="fa-IR" sz="1800" dirty="0" smtClean="0">
              <a:cs typeface="B Titr" panose="00000700000000000000" pitchFamily="2" charset="-78"/>
            </a:rPr>
            <a:t>تغییر ماهیت آموزش</a:t>
          </a:r>
          <a:endParaRPr lang="en-US" sz="1800" dirty="0">
            <a:cs typeface="B Titr" panose="00000700000000000000" pitchFamily="2" charset="-78"/>
          </a:endParaRPr>
        </a:p>
      </dgm:t>
    </dgm:pt>
    <dgm:pt modelId="{B0C298A5-5A86-4B40-873B-D369FE6932C4}" type="parTrans" cxnId="{4FBD00BA-39F6-4818-B836-539CE8AE8630}">
      <dgm:prSet/>
      <dgm:spPr>
        <a:solidFill>
          <a:srgbClr val="7030A0"/>
        </a:solidFill>
      </dgm:spPr>
      <dgm:t>
        <a:bodyPr/>
        <a:lstStyle/>
        <a:p>
          <a:pPr rtl="1"/>
          <a:endParaRPr lang="fa-IR"/>
        </a:p>
      </dgm:t>
    </dgm:pt>
    <dgm:pt modelId="{76A7688F-C750-4CCA-B307-D47E84ADCD7A}" type="sibTrans" cxnId="{4FBD00BA-39F6-4818-B836-539CE8AE8630}">
      <dgm:prSet/>
      <dgm:spPr/>
      <dgm:t>
        <a:bodyPr/>
        <a:lstStyle/>
        <a:p>
          <a:pPr rtl="1"/>
          <a:endParaRPr lang="fa-IR"/>
        </a:p>
      </dgm:t>
    </dgm:pt>
    <dgm:pt modelId="{08AB5DF8-A7BE-4FC2-BF1D-795B678B4733}" type="pres">
      <dgm:prSet presAssocID="{2B90D16D-48B1-4B01-9350-B213FE952BB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rtl="1"/>
          <a:endParaRPr lang="fa-IR"/>
        </a:p>
      </dgm:t>
    </dgm:pt>
    <dgm:pt modelId="{9857AC93-91DF-488F-BF98-9866EEB30F36}" type="pres">
      <dgm:prSet presAssocID="{306F3121-45C7-43F2-BADC-19E3683E5D0E}" presName="centerShape" presStyleLbl="node0" presStyleIdx="0" presStyleCnt="1"/>
      <dgm:spPr/>
      <dgm:t>
        <a:bodyPr/>
        <a:lstStyle/>
        <a:p>
          <a:pPr rtl="1"/>
          <a:endParaRPr lang="fa-IR"/>
        </a:p>
      </dgm:t>
    </dgm:pt>
    <dgm:pt modelId="{ABC1C840-7F93-41A6-9543-851AF436E18A}" type="pres">
      <dgm:prSet presAssocID="{C2B2D00F-2BBB-4CB9-8869-D4E0AF946B44}" presName="parTrans" presStyleLbl="sibTrans2D1" presStyleIdx="0" presStyleCnt="7"/>
      <dgm:spPr/>
      <dgm:t>
        <a:bodyPr/>
        <a:lstStyle/>
        <a:p>
          <a:pPr rtl="1"/>
          <a:endParaRPr lang="fa-IR"/>
        </a:p>
      </dgm:t>
    </dgm:pt>
    <dgm:pt modelId="{273C2782-3A41-456C-85D1-382F769D3345}" type="pres">
      <dgm:prSet presAssocID="{C2B2D00F-2BBB-4CB9-8869-D4E0AF946B44}" presName="connectorText" presStyleLbl="sibTrans2D1" presStyleIdx="0" presStyleCnt="7"/>
      <dgm:spPr/>
      <dgm:t>
        <a:bodyPr/>
        <a:lstStyle/>
        <a:p>
          <a:pPr rtl="1"/>
          <a:endParaRPr lang="fa-IR"/>
        </a:p>
      </dgm:t>
    </dgm:pt>
    <dgm:pt modelId="{46359D73-4450-42A6-830D-FE77BBB99BAC}" type="pres">
      <dgm:prSet presAssocID="{9B0A19FA-A419-4EB2-813A-4501557DF0D8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A6847F6D-869F-4FA8-BE36-B0C6BCFA798C}" type="pres">
      <dgm:prSet presAssocID="{7CA2A07A-D154-48B2-B8E4-0D38BC7B46DA}" presName="parTrans" presStyleLbl="sibTrans2D1" presStyleIdx="1" presStyleCnt="7"/>
      <dgm:spPr/>
      <dgm:t>
        <a:bodyPr/>
        <a:lstStyle/>
        <a:p>
          <a:pPr rtl="1"/>
          <a:endParaRPr lang="fa-IR"/>
        </a:p>
      </dgm:t>
    </dgm:pt>
    <dgm:pt modelId="{1E5585D1-340B-4984-A7BB-19D81AC50E66}" type="pres">
      <dgm:prSet presAssocID="{7CA2A07A-D154-48B2-B8E4-0D38BC7B46DA}" presName="connectorText" presStyleLbl="sibTrans2D1" presStyleIdx="1" presStyleCnt="7"/>
      <dgm:spPr/>
      <dgm:t>
        <a:bodyPr/>
        <a:lstStyle/>
        <a:p>
          <a:pPr rtl="1"/>
          <a:endParaRPr lang="fa-IR"/>
        </a:p>
      </dgm:t>
    </dgm:pt>
    <dgm:pt modelId="{11407F21-F028-4FBD-9F62-1190005AF0FB}" type="pres">
      <dgm:prSet presAssocID="{4CC192AE-E793-4D92-B65D-C78225D2E38D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F705EE0F-9090-4C35-A6BC-B8CD355B539C}" type="pres">
      <dgm:prSet presAssocID="{A9DE227D-700D-4C5A-B228-6D32790C0361}" presName="parTrans" presStyleLbl="sibTrans2D1" presStyleIdx="2" presStyleCnt="7"/>
      <dgm:spPr/>
      <dgm:t>
        <a:bodyPr/>
        <a:lstStyle/>
        <a:p>
          <a:pPr rtl="1"/>
          <a:endParaRPr lang="fa-IR"/>
        </a:p>
      </dgm:t>
    </dgm:pt>
    <dgm:pt modelId="{88FE6819-C7DE-4670-B9EE-76319709509B}" type="pres">
      <dgm:prSet presAssocID="{A9DE227D-700D-4C5A-B228-6D32790C0361}" presName="connectorText" presStyleLbl="sibTrans2D1" presStyleIdx="2" presStyleCnt="7"/>
      <dgm:spPr/>
      <dgm:t>
        <a:bodyPr/>
        <a:lstStyle/>
        <a:p>
          <a:pPr rtl="1"/>
          <a:endParaRPr lang="fa-IR"/>
        </a:p>
      </dgm:t>
    </dgm:pt>
    <dgm:pt modelId="{8D8A490C-1DEE-45B9-ADBF-060420F410BB}" type="pres">
      <dgm:prSet presAssocID="{6941AFF1-9563-4391-AF0B-0C18C0BB5F32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33BA76-8646-4468-AC91-A9BD87F4BC25}" type="pres">
      <dgm:prSet presAssocID="{B19635A0-16C9-4D6D-980F-8B1A92886FA5}" presName="parTrans" presStyleLbl="sibTrans2D1" presStyleIdx="3" presStyleCnt="7"/>
      <dgm:spPr/>
      <dgm:t>
        <a:bodyPr/>
        <a:lstStyle/>
        <a:p>
          <a:pPr rtl="1"/>
          <a:endParaRPr lang="fa-IR"/>
        </a:p>
      </dgm:t>
    </dgm:pt>
    <dgm:pt modelId="{3EE14AC5-1D6E-43AE-B847-7DFEDB22CB00}" type="pres">
      <dgm:prSet presAssocID="{B19635A0-16C9-4D6D-980F-8B1A92886FA5}" presName="connectorText" presStyleLbl="sibTrans2D1" presStyleIdx="3" presStyleCnt="7"/>
      <dgm:spPr/>
      <dgm:t>
        <a:bodyPr/>
        <a:lstStyle/>
        <a:p>
          <a:pPr rtl="1"/>
          <a:endParaRPr lang="fa-IR"/>
        </a:p>
      </dgm:t>
    </dgm:pt>
    <dgm:pt modelId="{397ABF42-2C49-4BA0-B88E-15BD0E3DB7C5}" type="pres">
      <dgm:prSet presAssocID="{80B65363-3EC3-449C-8968-59E855EAE44B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9F15C340-2BE3-478A-B957-35101C273FEA}" type="pres">
      <dgm:prSet presAssocID="{4E9ABBA7-B56A-45FF-9D80-113FAFA19CA2}" presName="parTrans" presStyleLbl="sibTrans2D1" presStyleIdx="4" presStyleCnt="7"/>
      <dgm:spPr/>
      <dgm:t>
        <a:bodyPr/>
        <a:lstStyle/>
        <a:p>
          <a:pPr rtl="1"/>
          <a:endParaRPr lang="fa-IR"/>
        </a:p>
      </dgm:t>
    </dgm:pt>
    <dgm:pt modelId="{E01EACA1-64CD-4A3F-AAD6-F09436B75788}" type="pres">
      <dgm:prSet presAssocID="{4E9ABBA7-B56A-45FF-9D80-113FAFA19CA2}" presName="connectorText" presStyleLbl="sibTrans2D1" presStyleIdx="4" presStyleCnt="7"/>
      <dgm:spPr/>
      <dgm:t>
        <a:bodyPr/>
        <a:lstStyle/>
        <a:p>
          <a:pPr rtl="1"/>
          <a:endParaRPr lang="fa-IR"/>
        </a:p>
      </dgm:t>
    </dgm:pt>
    <dgm:pt modelId="{CBD19B21-1C43-46A3-962F-0B2F24118901}" type="pres">
      <dgm:prSet presAssocID="{8879B510-401C-4532-9519-3F3DF5F5BB7B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97101A77-083F-400D-9763-059D110888FC}" type="pres">
      <dgm:prSet presAssocID="{289DAFA8-13A6-4E28-BF73-E3B0CA3673AD}" presName="parTrans" presStyleLbl="sibTrans2D1" presStyleIdx="5" presStyleCnt="7"/>
      <dgm:spPr/>
      <dgm:t>
        <a:bodyPr/>
        <a:lstStyle/>
        <a:p>
          <a:pPr rtl="1"/>
          <a:endParaRPr lang="fa-IR"/>
        </a:p>
      </dgm:t>
    </dgm:pt>
    <dgm:pt modelId="{86826395-F3FA-43FE-9E37-D63E359EE6E5}" type="pres">
      <dgm:prSet presAssocID="{289DAFA8-13A6-4E28-BF73-E3B0CA3673AD}" presName="connectorText" presStyleLbl="sibTrans2D1" presStyleIdx="5" presStyleCnt="7"/>
      <dgm:spPr/>
      <dgm:t>
        <a:bodyPr/>
        <a:lstStyle/>
        <a:p>
          <a:pPr rtl="1"/>
          <a:endParaRPr lang="fa-IR"/>
        </a:p>
      </dgm:t>
    </dgm:pt>
    <dgm:pt modelId="{70F9E6C6-F971-467A-A950-35C387B45D92}" type="pres">
      <dgm:prSet presAssocID="{3F8DCA0D-209F-4ADD-87B6-F5F95AA3E007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12052458-203A-47CC-9EDD-A2BD30910241}" type="pres">
      <dgm:prSet presAssocID="{B0C298A5-5A86-4B40-873B-D369FE6932C4}" presName="parTrans" presStyleLbl="sibTrans2D1" presStyleIdx="6" presStyleCnt="7"/>
      <dgm:spPr/>
      <dgm:t>
        <a:bodyPr/>
        <a:lstStyle/>
        <a:p>
          <a:pPr rtl="1"/>
          <a:endParaRPr lang="fa-IR"/>
        </a:p>
      </dgm:t>
    </dgm:pt>
    <dgm:pt modelId="{59C9E7AB-AD0F-4C0D-93CE-7C129E1FD787}" type="pres">
      <dgm:prSet presAssocID="{B0C298A5-5A86-4B40-873B-D369FE6932C4}" presName="connectorText" presStyleLbl="sibTrans2D1" presStyleIdx="6" presStyleCnt="7"/>
      <dgm:spPr/>
      <dgm:t>
        <a:bodyPr/>
        <a:lstStyle/>
        <a:p>
          <a:pPr rtl="1"/>
          <a:endParaRPr lang="fa-IR"/>
        </a:p>
      </dgm:t>
    </dgm:pt>
    <dgm:pt modelId="{A46D70FB-36D2-4870-AA2A-FCF7CD1DA6B0}" type="pres">
      <dgm:prSet presAssocID="{E4300881-9C59-44D9-8F51-050902D1ED66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</dgm:ptLst>
  <dgm:cxnLst>
    <dgm:cxn modelId="{2CCC471F-2C62-4840-A0A8-BA2D6769A340}" type="presOf" srcId="{9B0A19FA-A419-4EB2-813A-4501557DF0D8}" destId="{46359D73-4450-42A6-830D-FE77BBB99BAC}" srcOrd="0" destOrd="0" presId="urn:microsoft.com/office/officeart/2005/8/layout/radial5"/>
    <dgm:cxn modelId="{4061B23C-88EF-4C4F-BBA0-666770735849}" type="presOf" srcId="{8879B510-401C-4532-9519-3F3DF5F5BB7B}" destId="{CBD19B21-1C43-46A3-962F-0B2F24118901}" srcOrd="0" destOrd="0" presId="urn:microsoft.com/office/officeart/2005/8/layout/radial5"/>
    <dgm:cxn modelId="{A616DC13-A94B-420F-85FF-AEF4C75EE1AB}" type="presOf" srcId="{A9DE227D-700D-4C5A-B228-6D32790C0361}" destId="{F705EE0F-9090-4C35-A6BC-B8CD355B539C}" srcOrd="0" destOrd="0" presId="urn:microsoft.com/office/officeart/2005/8/layout/radial5"/>
    <dgm:cxn modelId="{4FBD00BA-39F6-4818-B836-539CE8AE8630}" srcId="{306F3121-45C7-43F2-BADC-19E3683E5D0E}" destId="{E4300881-9C59-44D9-8F51-050902D1ED66}" srcOrd="6" destOrd="0" parTransId="{B0C298A5-5A86-4B40-873B-D369FE6932C4}" sibTransId="{76A7688F-C750-4CCA-B307-D47E84ADCD7A}"/>
    <dgm:cxn modelId="{FEB731E9-410C-4A9D-866B-2A9C3B6AB08B}" type="presOf" srcId="{7CA2A07A-D154-48B2-B8E4-0D38BC7B46DA}" destId="{1E5585D1-340B-4984-A7BB-19D81AC50E66}" srcOrd="1" destOrd="0" presId="urn:microsoft.com/office/officeart/2005/8/layout/radial5"/>
    <dgm:cxn modelId="{76144057-2801-4A8B-9E32-5D8AB96D57B4}" srcId="{306F3121-45C7-43F2-BADC-19E3683E5D0E}" destId="{4CC192AE-E793-4D92-B65D-C78225D2E38D}" srcOrd="1" destOrd="0" parTransId="{7CA2A07A-D154-48B2-B8E4-0D38BC7B46DA}" sibTransId="{50127C91-5F3B-45DC-8BD1-2137C58D807B}"/>
    <dgm:cxn modelId="{38678FFC-F163-4041-AB65-93C99A77E8C2}" type="presOf" srcId="{B19635A0-16C9-4D6D-980F-8B1A92886FA5}" destId="{3EE14AC5-1D6E-43AE-B847-7DFEDB22CB00}" srcOrd="1" destOrd="0" presId="urn:microsoft.com/office/officeart/2005/8/layout/radial5"/>
    <dgm:cxn modelId="{0825C1EC-29B9-43E5-BCE3-A4AA64CF997B}" srcId="{306F3121-45C7-43F2-BADC-19E3683E5D0E}" destId="{6941AFF1-9563-4391-AF0B-0C18C0BB5F32}" srcOrd="2" destOrd="0" parTransId="{A9DE227D-700D-4C5A-B228-6D32790C0361}" sibTransId="{4A128919-9B72-4915-98B7-D2B31C9A9A43}"/>
    <dgm:cxn modelId="{29574F17-006D-44B3-AE2A-FF19E48F61E9}" type="presOf" srcId="{289DAFA8-13A6-4E28-BF73-E3B0CA3673AD}" destId="{86826395-F3FA-43FE-9E37-D63E359EE6E5}" srcOrd="1" destOrd="0" presId="urn:microsoft.com/office/officeart/2005/8/layout/radial5"/>
    <dgm:cxn modelId="{E5904BC5-EA14-4F61-963A-F51FD4405016}" type="presOf" srcId="{C2B2D00F-2BBB-4CB9-8869-D4E0AF946B44}" destId="{ABC1C840-7F93-41A6-9543-851AF436E18A}" srcOrd="0" destOrd="0" presId="urn:microsoft.com/office/officeart/2005/8/layout/radial5"/>
    <dgm:cxn modelId="{A4D29D1F-6CB9-4AB2-996E-90F55D4A38FC}" srcId="{306F3121-45C7-43F2-BADC-19E3683E5D0E}" destId="{80B65363-3EC3-449C-8968-59E855EAE44B}" srcOrd="3" destOrd="0" parTransId="{B19635A0-16C9-4D6D-980F-8B1A92886FA5}" sibTransId="{9CB13CE2-E5FA-4FA4-97FF-D59A2D430964}"/>
    <dgm:cxn modelId="{6972A6A0-5EF6-4D63-83C0-BB3B8BE5289C}" type="presOf" srcId="{6941AFF1-9563-4391-AF0B-0C18C0BB5F32}" destId="{8D8A490C-1DEE-45B9-ADBF-060420F410BB}" srcOrd="0" destOrd="0" presId="urn:microsoft.com/office/officeart/2005/8/layout/radial5"/>
    <dgm:cxn modelId="{15B46D2B-C332-4A14-980B-5AD6E3D8EE3D}" type="presOf" srcId="{4E9ABBA7-B56A-45FF-9D80-113FAFA19CA2}" destId="{9F15C340-2BE3-478A-B957-35101C273FEA}" srcOrd="0" destOrd="0" presId="urn:microsoft.com/office/officeart/2005/8/layout/radial5"/>
    <dgm:cxn modelId="{BF21BE44-14D2-44B7-8064-23273FB7F794}" type="presOf" srcId="{B0C298A5-5A86-4B40-873B-D369FE6932C4}" destId="{59C9E7AB-AD0F-4C0D-93CE-7C129E1FD787}" srcOrd="1" destOrd="0" presId="urn:microsoft.com/office/officeart/2005/8/layout/radial5"/>
    <dgm:cxn modelId="{0A31973A-5979-48AE-9669-34A2E291D066}" type="presOf" srcId="{2B90D16D-48B1-4B01-9350-B213FE952BB1}" destId="{08AB5DF8-A7BE-4FC2-BF1D-795B678B4733}" srcOrd="0" destOrd="0" presId="urn:microsoft.com/office/officeart/2005/8/layout/radial5"/>
    <dgm:cxn modelId="{C394DEFA-AC16-4B5F-A868-E70C4233D8B1}" type="presOf" srcId="{289DAFA8-13A6-4E28-BF73-E3B0CA3673AD}" destId="{97101A77-083F-400D-9763-059D110888FC}" srcOrd="0" destOrd="0" presId="urn:microsoft.com/office/officeart/2005/8/layout/radial5"/>
    <dgm:cxn modelId="{D7094F79-C08B-4F0E-98E8-D4E67F761ADB}" srcId="{306F3121-45C7-43F2-BADC-19E3683E5D0E}" destId="{9B0A19FA-A419-4EB2-813A-4501557DF0D8}" srcOrd="0" destOrd="0" parTransId="{C2B2D00F-2BBB-4CB9-8869-D4E0AF946B44}" sibTransId="{F3A09763-BA32-430B-B590-8D0FDD6EBB0E}"/>
    <dgm:cxn modelId="{C69995E6-A692-46DF-8947-7D5AC324AE88}" srcId="{306F3121-45C7-43F2-BADC-19E3683E5D0E}" destId="{3F8DCA0D-209F-4ADD-87B6-F5F95AA3E007}" srcOrd="5" destOrd="0" parTransId="{289DAFA8-13A6-4E28-BF73-E3B0CA3673AD}" sibTransId="{A87D4BA8-E096-4A68-A7DB-1EAC0E5F82E3}"/>
    <dgm:cxn modelId="{E4925F34-2764-4341-8501-38EA2B26EC99}" type="presOf" srcId="{A9DE227D-700D-4C5A-B228-6D32790C0361}" destId="{88FE6819-C7DE-4670-B9EE-76319709509B}" srcOrd="1" destOrd="0" presId="urn:microsoft.com/office/officeart/2005/8/layout/radial5"/>
    <dgm:cxn modelId="{624F312C-A88B-45DB-A76E-0E22CCC8689E}" type="presOf" srcId="{B19635A0-16C9-4D6D-980F-8B1A92886FA5}" destId="{1033BA76-8646-4468-AC91-A9BD87F4BC25}" srcOrd="0" destOrd="0" presId="urn:microsoft.com/office/officeart/2005/8/layout/radial5"/>
    <dgm:cxn modelId="{1BADB2B7-FE78-4646-9BE2-1AC27DD6C6A8}" type="presOf" srcId="{7CA2A07A-D154-48B2-B8E4-0D38BC7B46DA}" destId="{A6847F6D-869F-4FA8-BE36-B0C6BCFA798C}" srcOrd="0" destOrd="0" presId="urn:microsoft.com/office/officeart/2005/8/layout/radial5"/>
    <dgm:cxn modelId="{53131214-7746-4D9D-8551-0C8CC6E4072E}" type="presOf" srcId="{80B65363-3EC3-449C-8968-59E855EAE44B}" destId="{397ABF42-2C49-4BA0-B88E-15BD0E3DB7C5}" srcOrd="0" destOrd="0" presId="urn:microsoft.com/office/officeart/2005/8/layout/radial5"/>
    <dgm:cxn modelId="{FBB57DAF-A738-455E-B306-4F99C8D797D2}" type="presOf" srcId="{4E9ABBA7-B56A-45FF-9D80-113FAFA19CA2}" destId="{E01EACA1-64CD-4A3F-AAD6-F09436B75788}" srcOrd="1" destOrd="0" presId="urn:microsoft.com/office/officeart/2005/8/layout/radial5"/>
    <dgm:cxn modelId="{63C8DAB3-2CB3-4CAA-8070-C6D1CEC8F3D7}" type="presOf" srcId="{306F3121-45C7-43F2-BADC-19E3683E5D0E}" destId="{9857AC93-91DF-488F-BF98-9866EEB30F36}" srcOrd="0" destOrd="0" presId="urn:microsoft.com/office/officeart/2005/8/layout/radial5"/>
    <dgm:cxn modelId="{0C69D220-7A1B-4D83-BF41-0B24936C3294}" type="presOf" srcId="{4CC192AE-E793-4D92-B65D-C78225D2E38D}" destId="{11407F21-F028-4FBD-9F62-1190005AF0FB}" srcOrd="0" destOrd="0" presId="urn:microsoft.com/office/officeart/2005/8/layout/radial5"/>
    <dgm:cxn modelId="{35FCC1DA-3635-4B85-B5C8-7020BF139E43}" type="presOf" srcId="{C2B2D00F-2BBB-4CB9-8869-D4E0AF946B44}" destId="{273C2782-3A41-456C-85D1-382F769D3345}" srcOrd="1" destOrd="0" presId="urn:microsoft.com/office/officeart/2005/8/layout/radial5"/>
    <dgm:cxn modelId="{32879B23-3442-40B6-B799-74CF7E84A348}" type="presOf" srcId="{3F8DCA0D-209F-4ADD-87B6-F5F95AA3E007}" destId="{70F9E6C6-F971-467A-A950-35C387B45D92}" srcOrd="0" destOrd="0" presId="urn:microsoft.com/office/officeart/2005/8/layout/radial5"/>
    <dgm:cxn modelId="{CBB609D3-FF3D-41E6-9E2A-8FF954B9D049}" type="presOf" srcId="{B0C298A5-5A86-4B40-873B-D369FE6932C4}" destId="{12052458-203A-47CC-9EDD-A2BD30910241}" srcOrd="0" destOrd="0" presId="urn:microsoft.com/office/officeart/2005/8/layout/radial5"/>
    <dgm:cxn modelId="{2DAECEDB-2057-4794-AB0A-A584CD219026}" srcId="{306F3121-45C7-43F2-BADC-19E3683E5D0E}" destId="{8879B510-401C-4532-9519-3F3DF5F5BB7B}" srcOrd="4" destOrd="0" parTransId="{4E9ABBA7-B56A-45FF-9D80-113FAFA19CA2}" sibTransId="{85316150-882E-4C17-AD75-1D91C53AE1D8}"/>
    <dgm:cxn modelId="{D876F053-78F8-429B-811E-AF7D6184D499}" type="presOf" srcId="{E4300881-9C59-44D9-8F51-050902D1ED66}" destId="{A46D70FB-36D2-4870-AA2A-FCF7CD1DA6B0}" srcOrd="0" destOrd="0" presId="urn:microsoft.com/office/officeart/2005/8/layout/radial5"/>
    <dgm:cxn modelId="{A1949428-4154-43F3-BE3C-A0C6211E1B50}" srcId="{2B90D16D-48B1-4B01-9350-B213FE952BB1}" destId="{306F3121-45C7-43F2-BADC-19E3683E5D0E}" srcOrd="0" destOrd="0" parTransId="{D4A0A32B-40F7-47A6-BE9D-F95343F20CF7}" sibTransId="{E0C30F2F-C249-48AB-8AC1-D9ED9C1E2116}"/>
    <dgm:cxn modelId="{333CB14B-49CD-4AC9-8E90-41FD344D3297}" type="presParOf" srcId="{08AB5DF8-A7BE-4FC2-BF1D-795B678B4733}" destId="{9857AC93-91DF-488F-BF98-9866EEB30F36}" srcOrd="0" destOrd="0" presId="urn:microsoft.com/office/officeart/2005/8/layout/radial5"/>
    <dgm:cxn modelId="{6681371B-BF3F-4A95-9601-B33F5705D270}" type="presParOf" srcId="{08AB5DF8-A7BE-4FC2-BF1D-795B678B4733}" destId="{ABC1C840-7F93-41A6-9543-851AF436E18A}" srcOrd="1" destOrd="0" presId="urn:microsoft.com/office/officeart/2005/8/layout/radial5"/>
    <dgm:cxn modelId="{4FCE47BD-CA97-4BD1-B66E-2DDD1DCC3317}" type="presParOf" srcId="{ABC1C840-7F93-41A6-9543-851AF436E18A}" destId="{273C2782-3A41-456C-85D1-382F769D3345}" srcOrd="0" destOrd="0" presId="urn:microsoft.com/office/officeart/2005/8/layout/radial5"/>
    <dgm:cxn modelId="{D3F70A74-73F6-46B4-88DE-9BAEFB357CA5}" type="presParOf" srcId="{08AB5DF8-A7BE-4FC2-BF1D-795B678B4733}" destId="{46359D73-4450-42A6-830D-FE77BBB99BAC}" srcOrd="2" destOrd="0" presId="urn:microsoft.com/office/officeart/2005/8/layout/radial5"/>
    <dgm:cxn modelId="{87E743F1-3C01-4D3A-80BD-755145FB39E0}" type="presParOf" srcId="{08AB5DF8-A7BE-4FC2-BF1D-795B678B4733}" destId="{A6847F6D-869F-4FA8-BE36-B0C6BCFA798C}" srcOrd="3" destOrd="0" presId="urn:microsoft.com/office/officeart/2005/8/layout/radial5"/>
    <dgm:cxn modelId="{F9C03263-DD65-42F0-9E80-DDE399906AAE}" type="presParOf" srcId="{A6847F6D-869F-4FA8-BE36-B0C6BCFA798C}" destId="{1E5585D1-340B-4984-A7BB-19D81AC50E66}" srcOrd="0" destOrd="0" presId="urn:microsoft.com/office/officeart/2005/8/layout/radial5"/>
    <dgm:cxn modelId="{9B50C5E6-ECEE-4641-8AF8-2ABC3EF9D31D}" type="presParOf" srcId="{08AB5DF8-A7BE-4FC2-BF1D-795B678B4733}" destId="{11407F21-F028-4FBD-9F62-1190005AF0FB}" srcOrd="4" destOrd="0" presId="urn:microsoft.com/office/officeart/2005/8/layout/radial5"/>
    <dgm:cxn modelId="{C48D3C2D-21CA-4C10-9CA4-A340EDAA4A69}" type="presParOf" srcId="{08AB5DF8-A7BE-4FC2-BF1D-795B678B4733}" destId="{F705EE0F-9090-4C35-A6BC-B8CD355B539C}" srcOrd="5" destOrd="0" presId="urn:microsoft.com/office/officeart/2005/8/layout/radial5"/>
    <dgm:cxn modelId="{A1A520CE-B666-4F65-BFB8-EE9CFE028915}" type="presParOf" srcId="{F705EE0F-9090-4C35-A6BC-B8CD355B539C}" destId="{88FE6819-C7DE-4670-B9EE-76319709509B}" srcOrd="0" destOrd="0" presId="urn:microsoft.com/office/officeart/2005/8/layout/radial5"/>
    <dgm:cxn modelId="{0B605564-1806-41BD-A73A-90B43F37EFFB}" type="presParOf" srcId="{08AB5DF8-A7BE-4FC2-BF1D-795B678B4733}" destId="{8D8A490C-1DEE-45B9-ADBF-060420F410BB}" srcOrd="6" destOrd="0" presId="urn:microsoft.com/office/officeart/2005/8/layout/radial5"/>
    <dgm:cxn modelId="{BD14779E-0492-44C0-8C0B-CFDC6FDED11F}" type="presParOf" srcId="{08AB5DF8-A7BE-4FC2-BF1D-795B678B4733}" destId="{1033BA76-8646-4468-AC91-A9BD87F4BC25}" srcOrd="7" destOrd="0" presId="urn:microsoft.com/office/officeart/2005/8/layout/radial5"/>
    <dgm:cxn modelId="{2F4A370E-9AFD-4DDB-BE01-E6FE53AD992B}" type="presParOf" srcId="{1033BA76-8646-4468-AC91-A9BD87F4BC25}" destId="{3EE14AC5-1D6E-43AE-B847-7DFEDB22CB00}" srcOrd="0" destOrd="0" presId="urn:microsoft.com/office/officeart/2005/8/layout/radial5"/>
    <dgm:cxn modelId="{C5B21619-D801-43B5-8BA0-2BE9C55D3126}" type="presParOf" srcId="{08AB5DF8-A7BE-4FC2-BF1D-795B678B4733}" destId="{397ABF42-2C49-4BA0-B88E-15BD0E3DB7C5}" srcOrd="8" destOrd="0" presId="urn:microsoft.com/office/officeart/2005/8/layout/radial5"/>
    <dgm:cxn modelId="{58B8C198-20F4-46F3-BC53-5F6475DE25D9}" type="presParOf" srcId="{08AB5DF8-A7BE-4FC2-BF1D-795B678B4733}" destId="{9F15C340-2BE3-478A-B957-35101C273FEA}" srcOrd="9" destOrd="0" presId="urn:microsoft.com/office/officeart/2005/8/layout/radial5"/>
    <dgm:cxn modelId="{4D177EDA-D3FA-43E4-AC2A-37CCE6715811}" type="presParOf" srcId="{9F15C340-2BE3-478A-B957-35101C273FEA}" destId="{E01EACA1-64CD-4A3F-AAD6-F09436B75788}" srcOrd="0" destOrd="0" presId="urn:microsoft.com/office/officeart/2005/8/layout/radial5"/>
    <dgm:cxn modelId="{0B127263-C5BB-47E0-86A8-C8D926CCFFC9}" type="presParOf" srcId="{08AB5DF8-A7BE-4FC2-BF1D-795B678B4733}" destId="{CBD19B21-1C43-46A3-962F-0B2F24118901}" srcOrd="10" destOrd="0" presId="urn:microsoft.com/office/officeart/2005/8/layout/radial5"/>
    <dgm:cxn modelId="{FCF216DD-60CE-4F29-ADEA-1F4B1CCB0FCA}" type="presParOf" srcId="{08AB5DF8-A7BE-4FC2-BF1D-795B678B4733}" destId="{97101A77-083F-400D-9763-059D110888FC}" srcOrd="11" destOrd="0" presId="urn:microsoft.com/office/officeart/2005/8/layout/radial5"/>
    <dgm:cxn modelId="{3C4EFB6F-8D8B-4F5B-8835-DCF19B977420}" type="presParOf" srcId="{97101A77-083F-400D-9763-059D110888FC}" destId="{86826395-F3FA-43FE-9E37-D63E359EE6E5}" srcOrd="0" destOrd="0" presId="urn:microsoft.com/office/officeart/2005/8/layout/radial5"/>
    <dgm:cxn modelId="{464F3CA5-9995-4828-B5DF-D323B5847275}" type="presParOf" srcId="{08AB5DF8-A7BE-4FC2-BF1D-795B678B4733}" destId="{70F9E6C6-F971-467A-A950-35C387B45D92}" srcOrd="12" destOrd="0" presId="urn:microsoft.com/office/officeart/2005/8/layout/radial5"/>
    <dgm:cxn modelId="{A39853AF-0F41-4A17-B5A7-7C65794B5A82}" type="presParOf" srcId="{08AB5DF8-A7BE-4FC2-BF1D-795B678B4733}" destId="{12052458-203A-47CC-9EDD-A2BD30910241}" srcOrd="13" destOrd="0" presId="urn:microsoft.com/office/officeart/2005/8/layout/radial5"/>
    <dgm:cxn modelId="{5AD38067-3B06-44E8-9991-A8537A7E5934}" type="presParOf" srcId="{12052458-203A-47CC-9EDD-A2BD30910241}" destId="{59C9E7AB-AD0F-4C0D-93CE-7C129E1FD787}" srcOrd="0" destOrd="0" presId="urn:microsoft.com/office/officeart/2005/8/layout/radial5"/>
    <dgm:cxn modelId="{94666BE0-EC6E-4985-BE3F-0AF6869B3CD6}" type="presParOf" srcId="{08AB5DF8-A7BE-4FC2-BF1D-795B678B4733}" destId="{A46D70FB-36D2-4870-AA2A-FCF7CD1DA6B0}" srcOrd="14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B90D16D-48B1-4B01-9350-B213FE952BB1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B0A19FA-A419-4EB2-813A-4501557DF0D8}">
      <dgm:prSet phldrT="[Text]" custT="1"/>
      <dgm:spPr>
        <a:solidFill>
          <a:srgbClr val="00B0F0"/>
        </a:solidFill>
      </dgm:spPr>
      <dgm:t>
        <a:bodyPr/>
        <a:lstStyle/>
        <a:p>
          <a:r>
            <a:rPr lang="fa-IR" sz="2400" dirty="0" smtClean="0">
              <a:cs typeface="B Titr" panose="00000700000000000000" pitchFamily="2" charset="-78"/>
            </a:rPr>
            <a:t>محتوا</a:t>
          </a:r>
          <a:endParaRPr lang="en-US" sz="2400" dirty="0">
            <a:cs typeface="B Titr" panose="00000700000000000000" pitchFamily="2" charset="-78"/>
          </a:endParaRPr>
        </a:p>
      </dgm:t>
    </dgm:pt>
    <dgm:pt modelId="{C2B2D00F-2BBB-4CB9-8869-D4E0AF946B44}" type="parTrans" cxnId="{D7094F79-C08B-4F0E-98E8-D4E67F761ADB}">
      <dgm:prSet custT="1"/>
      <dgm:spPr>
        <a:solidFill>
          <a:srgbClr val="00B0F0"/>
        </a:solidFill>
      </dgm:spPr>
      <dgm:t>
        <a:bodyPr/>
        <a:lstStyle/>
        <a:p>
          <a:endParaRPr lang="en-US" sz="2000">
            <a:cs typeface="B Titr" panose="00000700000000000000" pitchFamily="2" charset="-78"/>
          </a:endParaRPr>
        </a:p>
      </dgm:t>
    </dgm:pt>
    <dgm:pt modelId="{F3A09763-BA32-430B-B590-8D0FDD6EBB0E}" type="sibTrans" cxnId="{D7094F79-C08B-4F0E-98E8-D4E67F761ADB}">
      <dgm:prSet/>
      <dgm:spPr/>
      <dgm:t>
        <a:bodyPr/>
        <a:lstStyle/>
        <a:p>
          <a:endParaRPr lang="en-US" sz="2400">
            <a:cs typeface="B Titr" panose="00000700000000000000" pitchFamily="2" charset="-78"/>
          </a:endParaRPr>
        </a:p>
      </dgm:t>
    </dgm:pt>
    <dgm:pt modelId="{4CC192AE-E793-4D92-B65D-C78225D2E38D}">
      <dgm:prSet phldrT="[Text]" custT="1"/>
      <dgm:spPr/>
      <dgm:t>
        <a:bodyPr/>
        <a:lstStyle/>
        <a:p>
          <a:r>
            <a:rPr lang="fa-IR" sz="2400" dirty="0" smtClean="0">
              <a:cs typeface="B Titr" panose="00000700000000000000" pitchFamily="2" charset="-78"/>
            </a:rPr>
            <a:t>ظرفیت</a:t>
          </a:r>
          <a:endParaRPr lang="en-US" sz="2400" dirty="0">
            <a:cs typeface="B Titr" panose="00000700000000000000" pitchFamily="2" charset="-78"/>
          </a:endParaRPr>
        </a:p>
      </dgm:t>
    </dgm:pt>
    <dgm:pt modelId="{7CA2A07A-D154-48B2-B8E4-0D38BC7B46DA}" type="parTrans" cxnId="{76144057-2801-4A8B-9E32-5D8AB96D57B4}">
      <dgm:prSet custT="1"/>
      <dgm:spPr/>
      <dgm:t>
        <a:bodyPr/>
        <a:lstStyle/>
        <a:p>
          <a:endParaRPr lang="en-US" sz="2000">
            <a:cs typeface="B Titr" panose="00000700000000000000" pitchFamily="2" charset="-78"/>
          </a:endParaRPr>
        </a:p>
      </dgm:t>
    </dgm:pt>
    <dgm:pt modelId="{50127C91-5F3B-45DC-8BD1-2137C58D807B}" type="sibTrans" cxnId="{76144057-2801-4A8B-9E32-5D8AB96D57B4}">
      <dgm:prSet/>
      <dgm:spPr/>
      <dgm:t>
        <a:bodyPr/>
        <a:lstStyle/>
        <a:p>
          <a:endParaRPr lang="en-US" sz="2400">
            <a:cs typeface="B Titr" panose="00000700000000000000" pitchFamily="2" charset="-78"/>
          </a:endParaRPr>
        </a:p>
      </dgm:t>
    </dgm:pt>
    <dgm:pt modelId="{6941AFF1-9563-4391-AF0B-0C18C0BB5F32}">
      <dgm:prSet phldrT="[Text]" custT="1"/>
      <dgm:spPr/>
      <dgm:t>
        <a:bodyPr/>
        <a:lstStyle/>
        <a:p>
          <a:r>
            <a:rPr lang="fa-IR" sz="2400" dirty="0" smtClean="0">
              <a:cs typeface="B Titr" panose="00000700000000000000" pitchFamily="2" charset="-78"/>
            </a:rPr>
            <a:t>هزینه</a:t>
          </a:r>
          <a:endParaRPr lang="en-US" sz="2400" dirty="0">
            <a:cs typeface="B Titr" panose="00000700000000000000" pitchFamily="2" charset="-78"/>
          </a:endParaRPr>
        </a:p>
      </dgm:t>
    </dgm:pt>
    <dgm:pt modelId="{A9DE227D-700D-4C5A-B228-6D32790C0361}" type="parTrans" cxnId="{0825C1EC-29B9-43E5-BCE3-A4AA64CF997B}">
      <dgm:prSet custT="1"/>
      <dgm:spPr/>
      <dgm:t>
        <a:bodyPr/>
        <a:lstStyle/>
        <a:p>
          <a:endParaRPr lang="en-US" sz="2000">
            <a:cs typeface="B Titr" panose="00000700000000000000" pitchFamily="2" charset="-78"/>
          </a:endParaRPr>
        </a:p>
      </dgm:t>
    </dgm:pt>
    <dgm:pt modelId="{4A128919-9B72-4915-98B7-D2B31C9A9A43}" type="sibTrans" cxnId="{0825C1EC-29B9-43E5-BCE3-A4AA64CF997B}">
      <dgm:prSet/>
      <dgm:spPr/>
      <dgm:t>
        <a:bodyPr/>
        <a:lstStyle/>
        <a:p>
          <a:endParaRPr lang="en-US" sz="2400">
            <a:cs typeface="B Titr" panose="00000700000000000000" pitchFamily="2" charset="-78"/>
          </a:endParaRPr>
        </a:p>
      </dgm:t>
    </dgm:pt>
    <dgm:pt modelId="{8879B510-401C-4532-9519-3F3DF5F5BB7B}">
      <dgm:prSet phldrT="[Text]" custT="1"/>
      <dgm:spPr>
        <a:solidFill>
          <a:srgbClr val="FFC000"/>
        </a:solidFill>
      </dgm:spPr>
      <dgm:t>
        <a:bodyPr/>
        <a:lstStyle/>
        <a:p>
          <a:r>
            <a:rPr lang="fa-IR" sz="2400" dirty="0" smtClean="0">
              <a:cs typeface="B Titr" panose="00000700000000000000" pitchFamily="2" charset="-78"/>
            </a:rPr>
            <a:t>کاربران</a:t>
          </a:r>
          <a:endParaRPr lang="en-US" sz="2400" dirty="0">
            <a:cs typeface="B Titr" panose="00000700000000000000" pitchFamily="2" charset="-78"/>
          </a:endParaRPr>
        </a:p>
      </dgm:t>
    </dgm:pt>
    <dgm:pt modelId="{4E9ABBA7-B56A-45FF-9D80-113FAFA19CA2}" type="parTrans" cxnId="{2DAECEDB-2057-4794-AB0A-A584CD219026}">
      <dgm:prSet custT="1"/>
      <dgm:spPr>
        <a:solidFill>
          <a:srgbClr val="FFC000"/>
        </a:solidFill>
      </dgm:spPr>
      <dgm:t>
        <a:bodyPr/>
        <a:lstStyle/>
        <a:p>
          <a:endParaRPr lang="en-US" sz="2000">
            <a:cs typeface="B Titr" panose="00000700000000000000" pitchFamily="2" charset="-78"/>
          </a:endParaRPr>
        </a:p>
      </dgm:t>
    </dgm:pt>
    <dgm:pt modelId="{85316150-882E-4C17-AD75-1D91C53AE1D8}" type="sibTrans" cxnId="{2DAECEDB-2057-4794-AB0A-A584CD219026}">
      <dgm:prSet/>
      <dgm:spPr/>
      <dgm:t>
        <a:bodyPr/>
        <a:lstStyle/>
        <a:p>
          <a:endParaRPr lang="en-US" sz="2400">
            <a:cs typeface="B Titr" panose="00000700000000000000" pitchFamily="2" charset="-78"/>
          </a:endParaRPr>
        </a:p>
      </dgm:t>
    </dgm:pt>
    <dgm:pt modelId="{306F3121-45C7-43F2-BADC-19E3683E5D0E}">
      <dgm:prSet phldrT="[Text]" custT="1"/>
      <dgm:spPr/>
      <dgm:t>
        <a:bodyPr/>
        <a:lstStyle/>
        <a:p>
          <a:r>
            <a:rPr lang="fa-IR" sz="2000" dirty="0" smtClean="0">
              <a:cs typeface="B Titr" panose="00000700000000000000" pitchFamily="2" charset="-78"/>
            </a:rPr>
            <a:t>آمادگی الکترونیکی</a:t>
          </a:r>
          <a:endParaRPr lang="en-US" sz="2000" dirty="0">
            <a:cs typeface="B Titr" panose="00000700000000000000" pitchFamily="2" charset="-78"/>
          </a:endParaRPr>
        </a:p>
      </dgm:t>
    </dgm:pt>
    <dgm:pt modelId="{E0C30F2F-C249-48AB-8AC1-D9ED9C1E2116}" type="sibTrans" cxnId="{A1949428-4154-43F3-BE3C-A0C6211E1B50}">
      <dgm:prSet/>
      <dgm:spPr/>
      <dgm:t>
        <a:bodyPr/>
        <a:lstStyle/>
        <a:p>
          <a:endParaRPr lang="en-US" sz="2400">
            <a:cs typeface="B Titr" panose="00000700000000000000" pitchFamily="2" charset="-78"/>
          </a:endParaRPr>
        </a:p>
      </dgm:t>
    </dgm:pt>
    <dgm:pt modelId="{D4A0A32B-40F7-47A6-BE9D-F95343F20CF7}" type="parTrans" cxnId="{A1949428-4154-43F3-BE3C-A0C6211E1B50}">
      <dgm:prSet/>
      <dgm:spPr/>
      <dgm:t>
        <a:bodyPr/>
        <a:lstStyle/>
        <a:p>
          <a:endParaRPr lang="en-US" sz="2400">
            <a:cs typeface="B Titr" panose="00000700000000000000" pitchFamily="2" charset="-78"/>
          </a:endParaRPr>
        </a:p>
      </dgm:t>
    </dgm:pt>
    <dgm:pt modelId="{E4300881-9C59-44D9-8F51-050902D1ED66}">
      <dgm:prSet custT="1"/>
      <dgm:spPr>
        <a:solidFill>
          <a:srgbClr val="7030A0"/>
        </a:solidFill>
      </dgm:spPr>
      <dgm:t>
        <a:bodyPr/>
        <a:lstStyle/>
        <a:p>
          <a:pPr rtl="1"/>
          <a:r>
            <a:rPr lang="fa-IR" sz="2400" dirty="0" smtClean="0">
              <a:cs typeface="B Titr" panose="00000700000000000000" pitchFamily="2" charset="-78"/>
            </a:rPr>
            <a:t>فرهنگ</a:t>
          </a:r>
          <a:endParaRPr lang="en-US" sz="2400" dirty="0">
            <a:cs typeface="B Titr" panose="00000700000000000000" pitchFamily="2" charset="-78"/>
          </a:endParaRPr>
        </a:p>
      </dgm:t>
    </dgm:pt>
    <dgm:pt modelId="{B0C298A5-5A86-4B40-873B-D369FE6932C4}" type="parTrans" cxnId="{4FBD00BA-39F6-4818-B836-539CE8AE8630}">
      <dgm:prSet custT="1"/>
      <dgm:spPr>
        <a:solidFill>
          <a:srgbClr val="7030A0"/>
        </a:solidFill>
      </dgm:spPr>
      <dgm:t>
        <a:bodyPr/>
        <a:lstStyle/>
        <a:p>
          <a:pPr rtl="1"/>
          <a:endParaRPr lang="fa-IR" sz="2000"/>
        </a:p>
      </dgm:t>
    </dgm:pt>
    <dgm:pt modelId="{76A7688F-C750-4CCA-B307-D47E84ADCD7A}" type="sibTrans" cxnId="{4FBD00BA-39F6-4818-B836-539CE8AE8630}">
      <dgm:prSet/>
      <dgm:spPr/>
      <dgm:t>
        <a:bodyPr/>
        <a:lstStyle/>
        <a:p>
          <a:pPr rtl="1"/>
          <a:endParaRPr lang="fa-IR" sz="2400"/>
        </a:p>
      </dgm:t>
    </dgm:pt>
    <dgm:pt modelId="{08AB5DF8-A7BE-4FC2-BF1D-795B678B4733}" type="pres">
      <dgm:prSet presAssocID="{2B90D16D-48B1-4B01-9350-B213FE952BB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rtl="1"/>
          <a:endParaRPr lang="fa-IR"/>
        </a:p>
      </dgm:t>
    </dgm:pt>
    <dgm:pt modelId="{9857AC93-91DF-488F-BF98-9866EEB30F36}" type="pres">
      <dgm:prSet presAssocID="{306F3121-45C7-43F2-BADC-19E3683E5D0E}" presName="centerShape" presStyleLbl="node0" presStyleIdx="0" presStyleCnt="1"/>
      <dgm:spPr/>
      <dgm:t>
        <a:bodyPr/>
        <a:lstStyle/>
        <a:p>
          <a:pPr rtl="1"/>
          <a:endParaRPr lang="fa-IR"/>
        </a:p>
      </dgm:t>
    </dgm:pt>
    <dgm:pt modelId="{ABC1C840-7F93-41A6-9543-851AF436E18A}" type="pres">
      <dgm:prSet presAssocID="{C2B2D00F-2BBB-4CB9-8869-D4E0AF946B44}" presName="parTrans" presStyleLbl="sibTrans2D1" presStyleIdx="0" presStyleCnt="5"/>
      <dgm:spPr/>
      <dgm:t>
        <a:bodyPr/>
        <a:lstStyle/>
        <a:p>
          <a:pPr rtl="1"/>
          <a:endParaRPr lang="fa-IR"/>
        </a:p>
      </dgm:t>
    </dgm:pt>
    <dgm:pt modelId="{273C2782-3A41-456C-85D1-382F769D3345}" type="pres">
      <dgm:prSet presAssocID="{C2B2D00F-2BBB-4CB9-8869-D4E0AF946B44}" presName="connectorText" presStyleLbl="sibTrans2D1" presStyleIdx="0" presStyleCnt="5"/>
      <dgm:spPr/>
      <dgm:t>
        <a:bodyPr/>
        <a:lstStyle/>
        <a:p>
          <a:pPr rtl="1"/>
          <a:endParaRPr lang="fa-IR"/>
        </a:p>
      </dgm:t>
    </dgm:pt>
    <dgm:pt modelId="{46359D73-4450-42A6-830D-FE77BBB99BAC}" type="pres">
      <dgm:prSet presAssocID="{9B0A19FA-A419-4EB2-813A-4501557DF0D8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A6847F6D-869F-4FA8-BE36-B0C6BCFA798C}" type="pres">
      <dgm:prSet presAssocID="{7CA2A07A-D154-48B2-B8E4-0D38BC7B46DA}" presName="parTrans" presStyleLbl="sibTrans2D1" presStyleIdx="1" presStyleCnt="5"/>
      <dgm:spPr/>
      <dgm:t>
        <a:bodyPr/>
        <a:lstStyle/>
        <a:p>
          <a:pPr rtl="1"/>
          <a:endParaRPr lang="fa-IR"/>
        </a:p>
      </dgm:t>
    </dgm:pt>
    <dgm:pt modelId="{1E5585D1-340B-4984-A7BB-19D81AC50E66}" type="pres">
      <dgm:prSet presAssocID="{7CA2A07A-D154-48B2-B8E4-0D38BC7B46DA}" presName="connectorText" presStyleLbl="sibTrans2D1" presStyleIdx="1" presStyleCnt="5"/>
      <dgm:spPr/>
      <dgm:t>
        <a:bodyPr/>
        <a:lstStyle/>
        <a:p>
          <a:pPr rtl="1"/>
          <a:endParaRPr lang="fa-IR"/>
        </a:p>
      </dgm:t>
    </dgm:pt>
    <dgm:pt modelId="{11407F21-F028-4FBD-9F62-1190005AF0FB}" type="pres">
      <dgm:prSet presAssocID="{4CC192AE-E793-4D92-B65D-C78225D2E38D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F705EE0F-9090-4C35-A6BC-B8CD355B539C}" type="pres">
      <dgm:prSet presAssocID="{A9DE227D-700D-4C5A-B228-6D32790C0361}" presName="parTrans" presStyleLbl="sibTrans2D1" presStyleIdx="2" presStyleCnt="5"/>
      <dgm:spPr/>
      <dgm:t>
        <a:bodyPr/>
        <a:lstStyle/>
        <a:p>
          <a:pPr rtl="1"/>
          <a:endParaRPr lang="fa-IR"/>
        </a:p>
      </dgm:t>
    </dgm:pt>
    <dgm:pt modelId="{88FE6819-C7DE-4670-B9EE-76319709509B}" type="pres">
      <dgm:prSet presAssocID="{A9DE227D-700D-4C5A-B228-6D32790C0361}" presName="connectorText" presStyleLbl="sibTrans2D1" presStyleIdx="2" presStyleCnt="5"/>
      <dgm:spPr/>
      <dgm:t>
        <a:bodyPr/>
        <a:lstStyle/>
        <a:p>
          <a:pPr rtl="1"/>
          <a:endParaRPr lang="fa-IR"/>
        </a:p>
      </dgm:t>
    </dgm:pt>
    <dgm:pt modelId="{8D8A490C-1DEE-45B9-ADBF-060420F410BB}" type="pres">
      <dgm:prSet presAssocID="{6941AFF1-9563-4391-AF0B-0C18C0BB5F32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15C340-2BE3-478A-B957-35101C273FEA}" type="pres">
      <dgm:prSet presAssocID="{4E9ABBA7-B56A-45FF-9D80-113FAFA19CA2}" presName="parTrans" presStyleLbl="sibTrans2D1" presStyleIdx="3" presStyleCnt="5"/>
      <dgm:spPr/>
      <dgm:t>
        <a:bodyPr/>
        <a:lstStyle/>
        <a:p>
          <a:pPr rtl="1"/>
          <a:endParaRPr lang="fa-IR"/>
        </a:p>
      </dgm:t>
    </dgm:pt>
    <dgm:pt modelId="{E01EACA1-64CD-4A3F-AAD6-F09436B75788}" type="pres">
      <dgm:prSet presAssocID="{4E9ABBA7-B56A-45FF-9D80-113FAFA19CA2}" presName="connectorText" presStyleLbl="sibTrans2D1" presStyleIdx="3" presStyleCnt="5"/>
      <dgm:spPr/>
      <dgm:t>
        <a:bodyPr/>
        <a:lstStyle/>
        <a:p>
          <a:pPr rtl="1"/>
          <a:endParaRPr lang="fa-IR"/>
        </a:p>
      </dgm:t>
    </dgm:pt>
    <dgm:pt modelId="{CBD19B21-1C43-46A3-962F-0B2F24118901}" type="pres">
      <dgm:prSet presAssocID="{8879B510-401C-4532-9519-3F3DF5F5BB7B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12052458-203A-47CC-9EDD-A2BD30910241}" type="pres">
      <dgm:prSet presAssocID="{B0C298A5-5A86-4B40-873B-D369FE6932C4}" presName="parTrans" presStyleLbl="sibTrans2D1" presStyleIdx="4" presStyleCnt="5"/>
      <dgm:spPr/>
      <dgm:t>
        <a:bodyPr/>
        <a:lstStyle/>
        <a:p>
          <a:pPr rtl="1"/>
          <a:endParaRPr lang="fa-IR"/>
        </a:p>
      </dgm:t>
    </dgm:pt>
    <dgm:pt modelId="{59C9E7AB-AD0F-4C0D-93CE-7C129E1FD787}" type="pres">
      <dgm:prSet presAssocID="{B0C298A5-5A86-4B40-873B-D369FE6932C4}" presName="connectorText" presStyleLbl="sibTrans2D1" presStyleIdx="4" presStyleCnt="5"/>
      <dgm:spPr/>
      <dgm:t>
        <a:bodyPr/>
        <a:lstStyle/>
        <a:p>
          <a:pPr rtl="1"/>
          <a:endParaRPr lang="fa-IR"/>
        </a:p>
      </dgm:t>
    </dgm:pt>
    <dgm:pt modelId="{A46D70FB-36D2-4870-AA2A-FCF7CD1DA6B0}" type="pres">
      <dgm:prSet presAssocID="{E4300881-9C59-44D9-8F51-050902D1ED66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</dgm:ptLst>
  <dgm:cxnLst>
    <dgm:cxn modelId="{2DAECEDB-2057-4794-AB0A-A584CD219026}" srcId="{306F3121-45C7-43F2-BADC-19E3683E5D0E}" destId="{8879B510-401C-4532-9519-3F3DF5F5BB7B}" srcOrd="3" destOrd="0" parTransId="{4E9ABBA7-B56A-45FF-9D80-113FAFA19CA2}" sibTransId="{85316150-882E-4C17-AD75-1D91C53AE1D8}"/>
    <dgm:cxn modelId="{DEE0202B-DB07-41F7-88E7-EFB4EB061429}" type="presOf" srcId="{8879B510-401C-4532-9519-3F3DF5F5BB7B}" destId="{CBD19B21-1C43-46A3-962F-0B2F24118901}" srcOrd="0" destOrd="0" presId="urn:microsoft.com/office/officeart/2005/8/layout/radial5"/>
    <dgm:cxn modelId="{0825C1EC-29B9-43E5-BCE3-A4AA64CF997B}" srcId="{306F3121-45C7-43F2-BADC-19E3683E5D0E}" destId="{6941AFF1-9563-4391-AF0B-0C18C0BB5F32}" srcOrd="2" destOrd="0" parTransId="{A9DE227D-700D-4C5A-B228-6D32790C0361}" sibTransId="{4A128919-9B72-4915-98B7-D2B31C9A9A43}"/>
    <dgm:cxn modelId="{5C0FF939-E283-457A-A927-841FBF50E84F}" type="presOf" srcId="{9B0A19FA-A419-4EB2-813A-4501557DF0D8}" destId="{46359D73-4450-42A6-830D-FE77BBB99BAC}" srcOrd="0" destOrd="0" presId="urn:microsoft.com/office/officeart/2005/8/layout/radial5"/>
    <dgm:cxn modelId="{76144057-2801-4A8B-9E32-5D8AB96D57B4}" srcId="{306F3121-45C7-43F2-BADC-19E3683E5D0E}" destId="{4CC192AE-E793-4D92-B65D-C78225D2E38D}" srcOrd="1" destOrd="0" parTransId="{7CA2A07A-D154-48B2-B8E4-0D38BC7B46DA}" sibTransId="{50127C91-5F3B-45DC-8BD1-2137C58D807B}"/>
    <dgm:cxn modelId="{A1949428-4154-43F3-BE3C-A0C6211E1B50}" srcId="{2B90D16D-48B1-4B01-9350-B213FE952BB1}" destId="{306F3121-45C7-43F2-BADC-19E3683E5D0E}" srcOrd="0" destOrd="0" parTransId="{D4A0A32B-40F7-47A6-BE9D-F95343F20CF7}" sibTransId="{E0C30F2F-C249-48AB-8AC1-D9ED9C1E2116}"/>
    <dgm:cxn modelId="{E671ACB4-178B-46CF-9564-3C1123424F34}" type="presOf" srcId="{4E9ABBA7-B56A-45FF-9D80-113FAFA19CA2}" destId="{9F15C340-2BE3-478A-B957-35101C273FEA}" srcOrd="0" destOrd="0" presId="urn:microsoft.com/office/officeart/2005/8/layout/radial5"/>
    <dgm:cxn modelId="{AB9A78E9-0221-4DCE-B7D4-0EA71F74B400}" type="presOf" srcId="{7CA2A07A-D154-48B2-B8E4-0D38BC7B46DA}" destId="{A6847F6D-869F-4FA8-BE36-B0C6BCFA798C}" srcOrd="0" destOrd="0" presId="urn:microsoft.com/office/officeart/2005/8/layout/radial5"/>
    <dgm:cxn modelId="{D7094F79-C08B-4F0E-98E8-D4E67F761ADB}" srcId="{306F3121-45C7-43F2-BADC-19E3683E5D0E}" destId="{9B0A19FA-A419-4EB2-813A-4501557DF0D8}" srcOrd="0" destOrd="0" parTransId="{C2B2D00F-2BBB-4CB9-8869-D4E0AF946B44}" sibTransId="{F3A09763-BA32-430B-B590-8D0FDD6EBB0E}"/>
    <dgm:cxn modelId="{E8354A37-6946-4C86-92A4-69129403F0F8}" type="presOf" srcId="{A9DE227D-700D-4C5A-B228-6D32790C0361}" destId="{88FE6819-C7DE-4670-B9EE-76319709509B}" srcOrd="1" destOrd="0" presId="urn:microsoft.com/office/officeart/2005/8/layout/radial5"/>
    <dgm:cxn modelId="{3E2B078D-7A3F-4BCB-B54D-443EADB766D2}" type="presOf" srcId="{E4300881-9C59-44D9-8F51-050902D1ED66}" destId="{A46D70FB-36D2-4870-AA2A-FCF7CD1DA6B0}" srcOrd="0" destOrd="0" presId="urn:microsoft.com/office/officeart/2005/8/layout/radial5"/>
    <dgm:cxn modelId="{9AF986CD-CED9-4B5B-8467-B725534BECA8}" type="presOf" srcId="{4E9ABBA7-B56A-45FF-9D80-113FAFA19CA2}" destId="{E01EACA1-64CD-4A3F-AAD6-F09436B75788}" srcOrd="1" destOrd="0" presId="urn:microsoft.com/office/officeart/2005/8/layout/radial5"/>
    <dgm:cxn modelId="{A08630FB-6304-4E8A-A4C9-B3801EE25CED}" type="presOf" srcId="{C2B2D00F-2BBB-4CB9-8869-D4E0AF946B44}" destId="{273C2782-3A41-456C-85D1-382F769D3345}" srcOrd="1" destOrd="0" presId="urn:microsoft.com/office/officeart/2005/8/layout/radial5"/>
    <dgm:cxn modelId="{CD12447E-5DE8-4FAB-A6CB-21F3039EC839}" type="presOf" srcId="{2B90D16D-48B1-4B01-9350-B213FE952BB1}" destId="{08AB5DF8-A7BE-4FC2-BF1D-795B678B4733}" srcOrd="0" destOrd="0" presId="urn:microsoft.com/office/officeart/2005/8/layout/radial5"/>
    <dgm:cxn modelId="{07B581AB-EF47-43DB-BE51-9E06005D2683}" type="presOf" srcId="{B0C298A5-5A86-4B40-873B-D369FE6932C4}" destId="{59C9E7AB-AD0F-4C0D-93CE-7C129E1FD787}" srcOrd="1" destOrd="0" presId="urn:microsoft.com/office/officeart/2005/8/layout/radial5"/>
    <dgm:cxn modelId="{C78BB4A1-4D2B-42D8-BD68-6FC5A0E81E48}" type="presOf" srcId="{C2B2D00F-2BBB-4CB9-8869-D4E0AF946B44}" destId="{ABC1C840-7F93-41A6-9543-851AF436E18A}" srcOrd="0" destOrd="0" presId="urn:microsoft.com/office/officeart/2005/8/layout/radial5"/>
    <dgm:cxn modelId="{4FBD00BA-39F6-4818-B836-539CE8AE8630}" srcId="{306F3121-45C7-43F2-BADC-19E3683E5D0E}" destId="{E4300881-9C59-44D9-8F51-050902D1ED66}" srcOrd="4" destOrd="0" parTransId="{B0C298A5-5A86-4B40-873B-D369FE6932C4}" sibTransId="{76A7688F-C750-4CCA-B307-D47E84ADCD7A}"/>
    <dgm:cxn modelId="{B719C255-911B-4E73-B039-5DCC4D2D1F31}" type="presOf" srcId="{7CA2A07A-D154-48B2-B8E4-0D38BC7B46DA}" destId="{1E5585D1-340B-4984-A7BB-19D81AC50E66}" srcOrd="1" destOrd="0" presId="urn:microsoft.com/office/officeart/2005/8/layout/radial5"/>
    <dgm:cxn modelId="{4B54A2EE-4776-489E-82D1-E4D7D61FD068}" type="presOf" srcId="{B0C298A5-5A86-4B40-873B-D369FE6932C4}" destId="{12052458-203A-47CC-9EDD-A2BD30910241}" srcOrd="0" destOrd="0" presId="urn:microsoft.com/office/officeart/2005/8/layout/radial5"/>
    <dgm:cxn modelId="{E08F15D3-718A-419E-907B-FC00992D0F92}" type="presOf" srcId="{306F3121-45C7-43F2-BADC-19E3683E5D0E}" destId="{9857AC93-91DF-488F-BF98-9866EEB30F36}" srcOrd="0" destOrd="0" presId="urn:microsoft.com/office/officeart/2005/8/layout/radial5"/>
    <dgm:cxn modelId="{928C3395-E8A4-4CC8-B1E6-F50B68C58C90}" type="presOf" srcId="{6941AFF1-9563-4391-AF0B-0C18C0BB5F32}" destId="{8D8A490C-1DEE-45B9-ADBF-060420F410BB}" srcOrd="0" destOrd="0" presId="urn:microsoft.com/office/officeart/2005/8/layout/radial5"/>
    <dgm:cxn modelId="{558C4B2D-2822-46B6-B21B-F227D799E54F}" type="presOf" srcId="{A9DE227D-700D-4C5A-B228-6D32790C0361}" destId="{F705EE0F-9090-4C35-A6BC-B8CD355B539C}" srcOrd="0" destOrd="0" presId="urn:microsoft.com/office/officeart/2005/8/layout/radial5"/>
    <dgm:cxn modelId="{8F1A0250-2F08-4B79-955D-D3D08F0FF711}" type="presOf" srcId="{4CC192AE-E793-4D92-B65D-C78225D2E38D}" destId="{11407F21-F028-4FBD-9F62-1190005AF0FB}" srcOrd="0" destOrd="0" presId="urn:microsoft.com/office/officeart/2005/8/layout/radial5"/>
    <dgm:cxn modelId="{3FCDAE74-3C02-4394-AF6F-E2B94F65C863}" type="presParOf" srcId="{08AB5DF8-A7BE-4FC2-BF1D-795B678B4733}" destId="{9857AC93-91DF-488F-BF98-9866EEB30F36}" srcOrd="0" destOrd="0" presId="urn:microsoft.com/office/officeart/2005/8/layout/radial5"/>
    <dgm:cxn modelId="{9E77FB55-15AA-41B6-AD1B-2FB13C73BA24}" type="presParOf" srcId="{08AB5DF8-A7BE-4FC2-BF1D-795B678B4733}" destId="{ABC1C840-7F93-41A6-9543-851AF436E18A}" srcOrd="1" destOrd="0" presId="urn:microsoft.com/office/officeart/2005/8/layout/radial5"/>
    <dgm:cxn modelId="{D21E84C1-B545-4A39-B4D3-2EBA14924C27}" type="presParOf" srcId="{ABC1C840-7F93-41A6-9543-851AF436E18A}" destId="{273C2782-3A41-456C-85D1-382F769D3345}" srcOrd="0" destOrd="0" presId="urn:microsoft.com/office/officeart/2005/8/layout/radial5"/>
    <dgm:cxn modelId="{CABB38E6-B0C7-46C4-9283-76DC4EEE6832}" type="presParOf" srcId="{08AB5DF8-A7BE-4FC2-BF1D-795B678B4733}" destId="{46359D73-4450-42A6-830D-FE77BBB99BAC}" srcOrd="2" destOrd="0" presId="urn:microsoft.com/office/officeart/2005/8/layout/radial5"/>
    <dgm:cxn modelId="{13EDD0C9-CC92-4CF7-BC1C-2E01394DD73A}" type="presParOf" srcId="{08AB5DF8-A7BE-4FC2-BF1D-795B678B4733}" destId="{A6847F6D-869F-4FA8-BE36-B0C6BCFA798C}" srcOrd="3" destOrd="0" presId="urn:microsoft.com/office/officeart/2005/8/layout/radial5"/>
    <dgm:cxn modelId="{F6FD8A5B-26C5-4368-A42B-F51E4BBEC72E}" type="presParOf" srcId="{A6847F6D-869F-4FA8-BE36-B0C6BCFA798C}" destId="{1E5585D1-340B-4984-A7BB-19D81AC50E66}" srcOrd="0" destOrd="0" presId="urn:microsoft.com/office/officeart/2005/8/layout/radial5"/>
    <dgm:cxn modelId="{C69A4D8E-DCF2-475F-8694-575529FB37C5}" type="presParOf" srcId="{08AB5DF8-A7BE-4FC2-BF1D-795B678B4733}" destId="{11407F21-F028-4FBD-9F62-1190005AF0FB}" srcOrd="4" destOrd="0" presId="urn:microsoft.com/office/officeart/2005/8/layout/radial5"/>
    <dgm:cxn modelId="{2A0A28D4-0770-4FE5-9EFE-6CE200E2C1F2}" type="presParOf" srcId="{08AB5DF8-A7BE-4FC2-BF1D-795B678B4733}" destId="{F705EE0F-9090-4C35-A6BC-B8CD355B539C}" srcOrd="5" destOrd="0" presId="urn:microsoft.com/office/officeart/2005/8/layout/radial5"/>
    <dgm:cxn modelId="{1CC84F43-DD23-426A-989B-DE190F3C7295}" type="presParOf" srcId="{F705EE0F-9090-4C35-A6BC-B8CD355B539C}" destId="{88FE6819-C7DE-4670-B9EE-76319709509B}" srcOrd="0" destOrd="0" presId="urn:microsoft.com/office/officeart/2005/8/layout/radial5"/>
    <dgm:cxn modelId="{4B84B119-BDE3-4378-B8E2-7D90696E2821}" type="presParOf" srcId="{08AB5DF8-A7BE-4FC2-BF1D-795B678B4733}" destId="{8D8A490C-1DEE-45B9-ADBF-060420F410BB}" srcOrd="6" destOrd="0" presId="urn:microsoft.com/office/officeart/2005/8/layout/radial5"/>
    <dgm:cxn modelId="{71FA8D5B-3707-4E61-BDAD-A3593D9FCDB5}" type="presParOf" srcId="{08AB5DF8-A7BE-4FC2-BF1D-795B678B4733}" destId="{9F15C340-2BE3-478A-B957-35101C273FEA}" srcOrd="7" destOrd="0" presId="urn:microsoft.com/office/officeart/2005/8/layout/radial5"/>
    <dgm:cxn modelId="{2143111C-7829-4C09-9583-DEC8113E327D}" type="presParOf" srcId="{9F15C340-2BE3-478A-B957-35101C273FEA}" destId="{E01EACA1-64CD-4A3F-AAD6-F09436B75788}" srcOrd="0" destOrd="0" presId="urn:microsoft.com/office/officeart/2005/8/layout/radial5"/>
    <dgm:cxn modelId="{51070428-CDDB-4564-BF5B-AF63FB9BF568}" type="presParOf" srcId="{08AB5DF8-A7BE-4FC2-BF1D-795B678B4733}" destId="{CBD19B21-1C43-46A3-962F-0B2F24118901}" srcOrd="8" destOrd="0" presId="urn:microsoft.com/office/officeart/2005/8/layout/radial5"/>
    <dgm:cxn modelId="{B6F968F1-EE0E-4E9B-8DCE-368B7F951658}" type="presParOf" srcId="{08AB5DF8-A7BE-4FC2-BF1D-795B678B4733}" destId="{12052458-203A-47CC-9EDD-A2BD30910241}" srcOrd="9" destOrd="0" presId="urn:microsoft.com/office/officeart/2005/8/layout/radial5"/>
    <dgm:cxn modelId="{E8DA1EBA-1E16-4091-B4D6-779CD679C761}" type="presParOf" srcId="{12052458-203A-47CC-9EDD-A2BD30910241}" destId="{59C9E7AB-AD0F-4C0D-93CE-7C129E1FD787}" srcOrd="0" destOrd="0" presId="urn:microsoft.com/office/officeart/2005/8/layout/radial5"/>
    <dgm:cxn modelId="{5DC0AF49-C4DC-424B-8095-B5591C73C497}" type="presParOf" srcId="{08AB5DF8-A7BE-4FC2-BF1D-795B678B4733}" destId="{A46D70FB-36D2-4870-AA2A-FCF7CD1DA6B0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B90D16D-48B1-4B01-9350-B213FE952BB1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B0A19FA-A419-4EB2-813A-4501557DF0D8}">
      <dgm:prSet phldrT="[Text]" custT="1"/>
      <dgm:spPr>
        <a:solidFill>
          <a:srgbClr val="00B0F0"/>
        </a:solidFill>
      </dgm:spPr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آمادگی مالی</a:t>
          </a:r>
          <a:endParaRPr lang="en-US" sz="1800" dirty="0">
            <a:cs typeface="B Titr" panose="00000700000000000000" pitchFamily="2" charset="-78"/>
          </a:endParaRPr>
        </a:p>
      </dgm:t>
    </dgm:pt>
    <dgm:pt modelId="{C2B2D00F-2BBB-4CB9-8869-D4E0AF946B44}" type="parTrans" cxnId="{D7094F79-C08B-4F0E-98E8-D4E67F761ADB}">
      <dgm:prSet/>
      <dgm:spPr>
        <a:solidFill>
          <a:srgbClr val="00B0F0"/>
        </a:solidFill>
      </dgm:spPr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F3A09763-BA32-430B-B590-8D0FDD6EBB0E}" type="sibTrans" cxnId="{D7094F79-C08B-4F0E-98E8-D4E67F761AD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4CC192AE-E793-4D92-B65D-C78225D2E38D}">
      <dgm:prSet phldrT="[Text]" custT="1"/>
      <dgm:spPr/>
      <dgm:t>
        <a:bodyPr/>
        <a:lstStyle/>
        <a:p>
          <a:r>
            <a:rPr lang="fa-IR" sz="1400" dirty="0" smtClean="0">
              <a:cs typeface="B Titr" panose="00000700000000000000" pitchFamily="2" charset="-78"/>
            </a:rPr>
            <a:t>آمادگی جامعه‌شناختی</a:t>
          </a:r>
          <a:endParaRPr lang="en-US" sz="1400" dirty="0">
            <a:cs typeface="B Titr" panose="00000700000000000000" pitchFamily="2" charset="-78"/>
          </a:endParaRPr>
        </a:p>
      </dgm:t>
    </dgm:pt>
    <dgm:pt modelId="{7CA2A07A-D154-48B2-B8E4-0D38BC7B46DA}" type="parTrans" cxnId="{76144057-2801-4A8B-9E32-5D8AB96D57B4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50127C91-5F3B-45DC-8BD1-2137C58D807B}" type="sibTrans" cxnId="{76144057-2801-4A8B-9E32-5D8AB96D57B4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6941AFF1-9563-4391-AF0B-0C18C0BB5F32}">
      <dgm:prSet phldrT="[Text]" custT="1"/>
      <dgm:spPr/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آمادگی منابع انسانی</a:t>
          </a:r>
          <a:endParaRPr lang="en-US" sz="1800" dirty="0">
            <a:cs typeface="B Titr" panose="00000700000000000000" pitchFamily="2" charset="-78"/>
          </a:endParaRPr>
        </a:p>
      </dgm:t>
    </dgm:pt>
    <dgm:pt modelId="{A9DE227D-700D-4C5A-B228-6D32790C0361}" type="parTrans" cxnId="{0825C1EC-29B9-43E5-BCE3-A4AA64CF997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4A128919-9B72-4915-98B7-D2B31C9A9A43}" type="sibTrans" cxnId="{0825C1EC-29B9-43E5-BCE3-A4AA64CF997B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80B65363-3EC3-449C-8968-59E855EAE44B}">
      <dgm:prSet phldrT="[Text]" custT="1"/>
      <dgm:spPr/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آمادگی تجهیزات</a:t>
          </a:r>
          <a:endParaRPr lang="en-US" sz="1800" dirty="0">
            <a:cs typeface="B Titr" panose="00000700000000000000" pitchFamily="2" charset="-78"/>
          </a:endParaRPr>
        </a:p>
      </dgm:t>
    </dgm:pt>
    <dgm:pt modelId="{B19635A0-16C9-4D6D-980F-8B1A92886FA5}" type="parTrans" cxnId="{A4D29D1F-6CB9-4AB2-996E-90F55D4A38FC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9CB13CE2-E5FA-4FA4-97FF-D59A2D430964}" type="sibTrans" cxnId="{A4D29D1F-6CB9-4AB2-996E-90F55D4A38FC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8879B510-401C-4532-9519-3F3DF5F5BB7B}">
      <dgm:prSet phldrT="[Text]" custT="1"/>
      <dgm:spPr/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آمادگی محتوای آموزشی</a:t>
          </a:r>
          <a:endParaRPr lang="en-US" sz="1800" dirty="0">
            <a:cs typeface="B Titr" panose="00000700000000000000" pitchFamily="2" charset="-78"/>
          </a:endParaRPr>
        </a:p>
      </dgm:t>
    </dgm:pt>
    <dgm:pt modelId="{4E9ABBA7-B56A-45FF-9D80-113FAFA19CA2}" type="parTrans" cxnId="{2DAECEDB-2057-4794-AB0A-A584CD219026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85316150-882E-4C17-AD75-1D91C53AE1D8}" type="sibTrans" cxnId="{2DAECEDB-2057-4794-AB0A-A584CD219026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306F3121-45C7-43F2-BADC-19E3683E5D0E}">
      <dgm:prSet phldrT="[Text]"/>
      <dgm:spPr/>
      <dgm:t>
        <a:bodyPr/>
        <a:lstStyle/>
        <a:p>
          <a:r>
            <a:rPr lang="fa-IR" dirty="0" smtClean="0">
              <a:cs typeface="B Titr" panose="00000700000000000000" pitchFamily="2" charset="-78"/>
            </a:rPr>
            <a:t>آمادگی الکترونیکی</a:t>
          </a:r>
          <a:endParaRPr lang="en-US" dirty="0">
            <a:cs typeface="B Titr" panose="00000700000000000000" pitchFamily="2" charset="-78"/>
          </a:endParaRPr>
        </a:p>
      </dgm:t>
    </dgm:pt>
    <dgm:pt modelId="{E0C30F2F-C249-48AB-8AC1-D9ED9C1E2116}" type="sibTrans" cxnId="{A1949428-4154-43F3-BE3C-A0C6211E1B50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D4A0A32B-40F7-47A6-BE9D-F95343F20CF7}" type="parTrans" cxnId="{A1949428-4154-43F3-BE3C-A0C6211E1B50}">
      <dgm:prSet/>
      <dgm:spPr/>
      <dgm:t>
        <a:bodyPr/>
        <a:lstStyle/>
        <a:p>
          <a:endParaRPr lang="en-US">
            <a:cs typeface="B Titr" panose="00000700000000000000" pitchFamily="2" charset="-78"/>
          </a:endParaRPr>
        </a:p>
      </dgm:t>
    </dgm:pt>
    <dgm:pt modelId="{3F8DCA0D-209F-4ADD-87B6-F5F95AA3E007}">
      <dgm:prSet custT="1"/>
      <dgm:spPr>
        <a:solidFill>
          <a:srgbClr val="8D8B45"/>
        </a:solidFill>
      </dgm:spPr>
      <dgm:t>
        <a:bodyPr/>
        <a:lstStyle/>
        <a:p>
          <a:r>
            <a:rPr lang="fa-IR" sz="1800" dirty="0" smtClean="0">
              <a:cs typeface="B Titr" panose="00000700000000000000" pitchFamily="2" charset="-78"/>
            </a:rPr>
            <a:t>آمادگی روانی</a:t>
          </a:r>
          <a:endParaRPr lang="en-US" sz="1800" dirty="0">
            <a:cs typeface="B Titr" panose="00000700000000000000" pitchFamily="2" charset="-78"/>
          </a:endParaRPr>
        </a:p>
      </dgm:t>
    </dgm:pt>
    <dgm:pt modelId="{289DAFA8-13A6-4E28-BF73-E3B0CA3673AD}" type="parTrans" cxnId="{C69995E6-A692-46DF-8947-7D5AC324AE88}">
      <dgm:prSet/>
      <dgm:spPr>
        <a:solidFill>
          <a:srgbClr val="8D8B45"/>
        </a:solidFill>
      </dgm:spPr>
      <dgm:t>
        <a:bodyPr/>
        <a:lstStyle/>
        <a:p>
          <a:endParaRPr lang="en-US"/>
        </a:p>
      </dgm:t>
    </dgm:pt>
    <dgm:pt modelId="{A87D4BA8-E096-4A68-A7DB-1EAC0E5F82E3}" type="sibTrans" cxnId="{C69995E6-A692-46DF-8947-7D5AC324AE88}">
      <dgm:prSet/>
      <dgm:spPr/>
      <dgm:t>
        <a:bodyPr/>
        <a:lstStyle/>
        <a:p>
          <a:endParaRPr lang="en-US"/>
        </a:p>
      </dgm:t>
    </dgm:pt>
    <dgm:pt modelId="{E4300881-9C59-44D9-8F51-050902D1ED66}">
      <dgm:prSet custT="1"/>
      <dgm:spPr>
        <a:solidFill>
          <a:srgbClr val="7030A0"/>
        </a:solidFill>
      </dgm:spPr>
      <dgm:t>
        <a:bodyPr/>
        <a:lstStyle/>
        <a:p>
          <a:pPr rtl="1"/>
          <a:r>
            <a:rPr lang="fa-IR" sz="1800" dirty="0" smtClean="0">
              <a:cs typeface="B Titr" panose="00000700000000000000" pitchFamily="2" charset="-78"/>
            </a:rPr>
            <a:t>آمادگی مهارت‌های فنی</a:t>
          </a:r>
          <a:endParaRPr lang="en-US" sz="1800" dirty="0">
            <a:cs typeface="B Titr" panose="00000700000000000000" pitchFamily="2" charset="-78"/>
          </a:endParaRPr>
        </a:p>
      </dgm:t>
    </dgm:pt>
    <dgm:pt modelId="{B0C298A5-5A86-4B40-873B-D369FE6932C4}" type="parTrans" cxnId="{4FBD00BA-39F6-4818-B836-539CE8AE8630}">
      <dgm:prSet/>
      <dgm:spPr>
        <a:solidFill>
          <a:srgbClr val="7030A0"/>
        </a:solidFill>
      </dgm:spPr>
      <dgm:t>
        <a:bodyPr/>
        <a:lstStyle/>
        <a:p>
          <a:pPr rtl="1"/>
          <a:endParaRPr lang="fa-IR"/>
        </a:p>
      </dgm:t>
    </dgm:pt>
    <dgm:pt modelId="{76A7688F-C750-4CCA-B307-D47E84ADCD7A}" type="sibTrans" cxnId="{4FBD00BA-39F6-4818-B836-539CE8AE8630}">
      <dgm:prSet/>
      <dgm:spPr/>
      <dgm:t>
        <a:bodyPr/>
        <a:lstStyle/>
        <a:p>
          <a:pPr rtl="1"/>
          <a:endParaRPr lang="fa-IR"/>
        </a:p>
      </dgm:t>
    </dgm:pt>
    <dgm:pt modelId="{88DD7AE7-4B5C-450D-AC75-8F21DB4EC453}">
      <dgm:prSet phldrT="[Text]"/>
      <dgm:spPr/>
      <dgm:t>
        <a:bodyPr/>
        <a:lstStyle/>
        <a:p>
          <a:endParaRPr lang="en-US"/>
        </a:p>
      </dgm:t>
    </dgm:pt>
    <dgm:pt modelId="{93455ED2-EF92-49DF-892E-81981E919E4C}" type="parTrans" cxnId="{CDCD59E8-47E3-40E4-A7F0-90D4694B7F4C}">
      <dgm:prSet/>
      <dgm:spPr/>
      <dgm:t>
        <a:bodyPr/>
        <a:lstStyle/>
        <a:p>
          <a:pPr rtl="1"/>
          <a:endParaRPr lang="fa-IR"/>
        </a:p>
      </dgm:t>
    </dgm:pt>
    <dgm:pt modelId="{F7A317EA-8633-4960-84EC-D9693E2EF606}" type="sibTrans" cxnId="{CDCD59E8-47E3-40E4-A7F0-90D4694B7F4C}">
      <dgm:prSet/>
      <dgm:spPr/>
      <dgm:t>
        <a:bodyPr/>
        <a:lstStyle/>
        <a:p>
          <a:pPr rtl="1"/>
          <a:endParaRPr lang="fa-IR"/>
        </a:p>
      </dgm:t>
    </dgm:pt>
    <dgm:pt modelId="{CC533EFD-C660-420E-AAD3-42805C8822B3}">
      <dgm:prSet custT="1"/>
      <dgm:spPr/>
      <dgm:t>
        <a:bodyPr/>
        <a:lstStyle/>
        <a:p>
          <a:pPr rtl="1"/>
          <a:r>
            <a:rPr lang="fa-IR" sz="2000" dirty="0" smtClean="0">
              <a:cs typeface="B Titr" panose="00000700000000000000" pitchFamily="2" charset="-78"/>
            </a:rPr>
            <a:t>آمادگی محیطی</a:t>
          </a:r>
          <a:endParaRPr lang="fa-IR" sz="2000" dirty="0">
            <a:cs typeface="B Titr" panose="00000700000000000000" pitchFamily="2" charset="-78"/>
          </a:endParaRPr>
        </a:p>
      </dgm:t>
    </dgm:pt>
    <dgm:pt modelId="{5BDB183F-BA9A-4A74-83E1-4F38E59C8095}" type="parTrans" cxnId="{43668839-30E8-4775-B0E3-726183F520AB}">
      <dgm:prSet/>
      <dgm:spPr/>
      <dgm:t>
        <a:bodyPr/>
        <a:lstStyle/>
        <a:p>
          <a:pPr rtl="1"/>
          <a:endParaRPr lang="fa-IR"/>
        </a:p>
      </dgm:t>
    </dgm:pt>
    <dgm:pt modelId="{A0D93526-25B3-4F16-A371-9F46120B9B25}" type="sibTrans" cxnId="{43668839-30E8-4775-B0E3-726183F520AB}">
      <dgm:prSet/>
      <dgm:spPr/>
      <dgm:t>
        <a:bodyPr/>
        <a:lstStyle/>
        <a:p>
          <a:pPr rtl="1"/>
          <a:endParaRPr lang="fa-IR"/>
        </a:p>
      </dgm:t>
    </dgm:pt>
    <dgm:pt modelId="{08AB5DF8-A7BE-4FC2-BF1D-795B678B4733}" type="pres">
      <dgm:prSet presAssocID="{2B90D16D-48B1-4B01-9350-B213FE952BB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rtl="1"/>
          <a:endParaRPr lang="fa-IR"/>
        </a:p>
      </dgm:t>
    </dgm:pt>
    <dgm:pt modelId="{9857AC93-91DF-488F-BF98-9866EEB30F36}" type="pres">
      <dgm:prSet presAssocID="{306F3121-45C7-43F2-BADC-19E3683E5D0E}" presName="centerShape" presStyleLbl="node0" presStyleIdx="0" presStyleCnt="1"/>
      <dgm:spPr/>
      <dgm:t>
        <a:bodyPr/>
        <a:lstStyle/>
        <a:p>
          <a:pPr rtl="1"/>
          <a:endParaRPr lang="fa-IR"/>
        </a:p>
      </dgm:t>
    </dgm:pt>
    <dgm:pt modelId="{ABC1C840-7F93-41A6-9543-851AF436E18A}" type="pres">
      <dgm:prSet presAssocID="{C2B2D00F-2BBB-4CB9-8869-D4E0AF946B44}" presName="parTrans" presStyleLbl="sibTrans2D1" presStyleIdx="0" presStyleCnt="8"/>
      <dgm:spPr/>
      <dgm:t>
        <a:bodyPr/>
        <a:lstStyle/>
        <a:p>
          <a:pPr rtl="1"/>
          <a:endParaRPr lang="fa-IR"/>
        </a:p>
      </dgm:t>
    </dgm:pt>
    <dgm:pt modelId="{273C2782-3A41-456C-85D1-382F769D3345}" type="pres">
      <dgm:prSet presAssocID="{C2B2D00F-2BBB-4CB9-8869-D4E0AF946B44}" presName="connectorText" presStyleLbl="sibTrans2D1" presStyleIdx="0" presStyleCnt="8"/>
      <dgm:spPr/>
      <dgm:t>
        <a:bodyPr/>
        <a:lstStyle/>
        <a:p>
          <a:pPr rtl="1"/>
          <a:endParaRPr lang="fa-IR"/>
        </a:p>
      </dgm:t>
    </dgm:pt>
    <dgm:pt modelId="{46359D73-4450-42A6-830D-FE77BBB99BAC}" type="pres">
      <dgm:prSet presAssocID="{9B0A19FA-A419-4EB2-813A-4501557DF0D8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A6847F6D-869F-4FA8-BE36-B0C6BCFA798C}" type="pres">
      <dgm:prSet presAssocID="{7CA2A07A-D154-48B2-B8E4-0D38BC7B46DA}" presName="parTrans" presStyleLbl="sibTrans2D1" presStyleIdx="1" presStyleCnt="8"/>
      <dgm:spPr/>
      <dgm:t>
        <a:bodyPr/>
        <a:lstStyle/>
        <a:p>
          <a:pPr rtl="1"/>
          <a:endParaRPr lang="fa-IR"/>
        </a:p>
      </dgm:t>
    </dgm:pt>
    <dgm:pt modelId="{1E5585D1-340B-4984-A7BB-19D81AC50E66}" type="pres">
      <dgm:prSet presAssocID="{7CA2A07A-D154-48B2-B8E4-0D38BC7B46DA}" presName="connectorText" presStyleLbl="sibTrans2D1" presStyleIdx="1" presStyleCnt="8"/>
      <dgm:spPr/>
      <dgm:t>
        <a:bodyPr/>
        <a:lstStyle/>
        <a:p>
          <a:pPr rtl="1"/>
          <a:endParaRPr lang="fa-IR"/>
        </a:p>
      </dgm:t>
    </dgm:pt>
    <dgm:pt modelId="{11407F21-F028-4FBD-9F62-1190005AF0FB}" type="pres">
      <dgm:prSet presAssocID="{4CC192AE-E793-4D92-B65D-C78225D2E38D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F705EE0F-9090-4C35-A6BC-B8CD355B539C}" type="pres">
      <dgm:prSet presAssocID="{A9DE227D-700D-4C5A-B228-6D32790C0361}" presName="parTrans" presStyleLbl="sibTrans2D1" presStyleIdx="2" presStyleCnt="8"/>
      <dgm:spPr/>
      <dgm:t>
        <a:bodyPr/>
        <a:lstStyle/>
        <a:p>
          <a:pPr rtl="1"/>
          <a:endParaRPr lang="fa-IR"/>
        </a:p>
      </dgm:t>
    </dgm:pt>
    <dgm:pt modelId="{88FE6819-C7DE-4670-B9EE-76319709509B}" type="pres">
      <dgm:prSet presAssocID="{A9DE227D-700D-4C5A-B228-6D32790C0361}" presName="connectorText" presStyleLbl="sibTrans2D1" presStyleIdx="2" presStyleCnt="8"/>
      <dgm:spPr/>
      <dgm:t>
        <a:bodyPr/>
        <a:lstStyle/>
        <a:p>
          <a:pPr rtl="1"/>
          <a:endParaRPr lang="fa-IR"/>
        </a:p>
      </dgm:t>
    </dgm:pt>
    <dgm:pt modelId="{8D8A490C-1DEE-45B9-ADBF-060420F410BB}" type="pres">
      <dgm:prSet presAssocID="{6941AFF1-9563-4391-AF0B-0C18C0BB5F32}" presName="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1A357C-DBB3-468C-B87D-62F89AD1AD03}" type="pres">
      <dgm:prSet presAssocID="{5BDB183F-BA9A-4A74-83E1-4F38E59C8095}" presName="parTrans" presStyleLbl="sibTrans2D1" presStyleIdx="3" presStyleCnt="8"/>
      <dgm:spPr/>
      <dgm:t>
        <a:bodyPr/>
        <a:lstStyle/>
        <a:p>
          <a:endParaRPr lang="en-US"/>
        </a:p>
      </dgm:t>
    </dgm:pt>
    <dgm:pt modelId="{089744F3-E31E-4B98-8313-10308C279464}" type="pres">
      <dgm:prSet presAssocID="{5BDB183F-BA9A-4A74-83E1-4F38E59C8095}" presName="connectorText" presStyleLbl="sibTrans2D1" presStyleIdx="3" presStyleCnt="8"/>
      <dgm:spPr/>
      <dgm:t>
        <a:bodyPr/>
        <a:lstStyle/>
        <a:p>
          <a:endParaRPr lang="en-US"/>
        </a:p>
      </dgm:t>
    </dgm:pt>
    <dgm:pt modelId="{840A7DFF-49E0-4B7B-B756-D0D38030E190}" type="pres">
      <dgm:prSet presAssocID="{CC533EFD-C660-420E-AAD3-42805C8822B3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33BA76-8646-4468-AC91-A9BD87F4BC25}" type="pres">
      <dgm:prSet presAssocID="{B19635A0-16C9-4D6D-980F-8B1A92886FA5}" presName="parTrans" presStyleLbl="sibTrans2D1" presStyleIdx="4" presStyleCnt="8"/>
      <dgm:spPr/>
      <dgm:t>
        <a:bodyPr/>
        <a:lstStyle/>
        <a:p>
          <a:pPr rtl="1"/>
          <a:endParaRPr lang="fa-IR"/>
        </a:p>
      </dgm:t>
    </dgm:pt>
    <dgm:pt modelId="{3EE14AC5-1D6E-43AE-B847-7DFEDB22CB00}" type="pres">
      <dgm:prSet presAssocID="{B19635A0-16C9-4D6D-980F-8B1A92886FA5}" presName="connectorText" presStyleLbl="sibTrans2D1" presStyleIdx="4" presStyleCnt="8"/>
      <dgm:spPr/>
      <dgm:t>
        <a:bodyPr/>
        <a:lstStyle/>
        <a:p>
          <a:pPr rtl="1"/>
          <a:endParaRPr lang="fa-IR"/>
        </a:p>
      </dgm:t>
    </dgm:pt>
    <dgm:pt modelId="{397ABF42-2C49-4BA0-B88E-15BD0E3DB7C5}" type="pres">
      <dgm:prSet presAssocID="{80B65363-3EC3-449C-8968-59E855EAE44B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9F15C340-2BE3-478A-B957-35101C273FEA}" type="pres">
      <dgm:prSet presAssocID="{4E9ABBA7-B56A-45FF-9D80-113FAFA19CA2}" presName="parTrans" presStyleLbl="sibTrans2D1" presStyleIdx="5" presStyleCnt="8"/>
      <dgm:spPr/>
      <dgm:t>
        <a:bodyPr/>
        <a:lstStyle/>
        <a:p>
          <a:pPr rtl="1"/>
          <a:endParaRPr lang="fa-IR"/>
        </a:p>
      </dgm:t>
    </dgm:pt>
    <dgm:pt modelId="{E01EACA1-64CD-4A3F-AAD6-F09436B75788}" type="pres">
      <dgm:prSet presAssocID="{4E9ABBA7-B56A-45FF-9D80-113FAFA19CA2}" presName="connectorText" presStyleLbl="sibTrans2D1" presStyleIdx="5" presStyleCnt="8"/>
      <dgm:spPr/>
      <dgm:t>
        <a:bodyPr/>
        <a:lstStyle/>
        <a:p>
          <a:pPr rtl="1"/>
          <a:endParaRPr lang="fa-IR"/>
        </a:p>
      </dgm:t>
    </dgm:pt>
    <dgm:pt modelId="{CBD19B21-1C43-46A3-962F-0B2F24118901}" type="pres">
      <dgm:prSet presAssocID="{8879B510-401C-4532-9519-3F3DF5F5BB7B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97101A77-083F-400D-9763-059D110888FC}" type="pres">
      <dgm:prSet presAssocID="{289DAFA8-13A6-4E28-BF73-E3B0CA3673AD}" presName="parTrans" presStyleLbl="sibTrans2D1" presStyleIdx="6" presStyleCnt="8"/>
      <dgm:spPr/>
      <dgm:t>
        <a:bodyPr/>
        <a:lstStyle/>
        <a:p>
          <a:pPr rtl="1"/>
          <a:endParaRPr lang="fa-IR"/>
        </a:p>
      </dgm:t>
    </dgm:pt>
    <dgm:pt modelId="{86826395-F3FA-43FE-9E37-D63E359EE6E5}" type="pres">
      <dgm:prSet presAssocID="{289DAFA8-13A6-4E28-BF73-E3B0CA3673AD}" presName="connectorText" presStyleLbl="sibTrans2D1" presStyleIdx="6" presStyleCnt="8"/>
      <dgm:spPr/>
      <dgm:t>
        <a:bodyPr/>
        <a:lstStyle/>
        <a:p>
          <a:pPr rtl="1"/>
          <a:endParaRPr lang="fa-IR"/>
        </a:p>
      </dgm:t>
    </dgm:pt>
    <dgm:pt modelId="{70F9E6C6-F971-467A-A950-35C387B45D92}" type="pres">
      <dgm:prSet presAssocID="{3F8DCA0D-209F-4ADD-87B6-F5F95AA3E007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  <dgm:pt modelId="{12052458-203A-47CC-9EDD-A2BD30910241}" type="pres">
      <dgm:prSet presAssocID="{B0C298A5-5A86-4B40-873B-D369FE6932C4}" presName="parTrans" presStyleLbl="sibTrans2D1" presStyleIdx="7" presStyleCnt="8"/>
      <dgm:spPr/>
      <dgm:t>
        <a:bodyPr/>
        <a:lstStyle/>
        <a:p>
          <a:pPr rtl="1"/>
          <a:endParaRPr lang="fa-IR"/>
        </a:p>
      </dgm:t>
    </dgm:pt>
    <dgm:pt modelId="{59C9E7AB-AD0F-4C0D-93CE-7C129E1FD787}" type="pres">
      <dgm:prSet presAssocID="{B0C298A5-5A86-4B40-873B-D369FE6932C4}" presName="connectorText" presStyleLbl="sibTrans2D1" presStyleIdx="7" presStyleCnt="8"/>
      <dgm:spPr/>
      <dgm:t>
        <a:bodyPr/>
        <a:lstStyle/>
        <a:p>
          <a:pPr rtl="1"/>
          <a:endParaRPr lang="fa-IR"/>
        </a:p>
      </dgm:t>
    </dgm:pt>
    <dgm:pt modelId="{A46D70FB-36D2-4870-AA2A-FCF7CD1DA6B0}" type="pres">
      <dgm:prSet presAssocID="{E4300881-9C59-44D9-8F51-050902D1ED66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pPr rtl="1"/>
          <a:endParaRPr lang="fa-IR"/>
        </a:p>
      </dgm:t>
    </dgm:pt>
  </dgm:ptLst>
  <dgm:cxnLst>
    <dgm:cxn modelId="{CDCD59E8-47E3-40E4-A7F0-90D4694B7F4C}" srcId="{2B90D16D-48B1-4B01-9350-B213FE952BB1}" destId="{88DD7AE7-4B5C-450D-AC75-8F21DB4EC453}" srcOrd="1" destOrd="0" parTransId="{93455ED2-EF92-49DF-892E-81981E919E4C}" sibTransId="{F7A317EA-8633-4960-84EC-D9693E2EF606}"/>
    <dgm:cxn modelId="{43668839-30E8-4775-B0E3-726183F520AB}" srcId="{306F3121-45C7-43F2-BADC-19E3683E5D0E}" destId="{CC533EFD-C660-420E-AAD3-42805C8822B3}" srcOrd="3" destOrd="0" parTransId="{5BDB183F-BA9A-4A74-83E1-4F38E59C8095}" sibTransId="{A0D93526-25B3-4F16-A371-9F46120B9B25}"/>
    <dgm:cxn modelId="{0A40FB8B-D037-4715-8F40-066FB7A28AD8}" type="presOf" srcId="{7CA2A07A-D154-48B2-B8E4-0D38BC7B46DA}" destId="{1E5585D1-340B-4984-A7BB-19D81AC50E66}" srcOrd="1" destOrd="0" presId="urn:microsoft.com/office/officeart/2005/8/layout/radial5"/>
    <dgm:cxn modelId="{4FBD00BA-39F6-4818-B836-539CE8AE8630}" srcId="{306F3121-45C7-43F2-BADC-19E3683E5D0E}" destId="{E4300881-9C59-44D9-8F51-050902D1ED66}" srcOrd="7" destOrd="0" parTransId="{B0C298A5-5A86-4B40-873B-D369FE6932C4}" sibTransId="{76A7688F-C750-4CCA-B307-D47E84ADCD7A}"/>
    <dgm:cxn modelId="{4C1EC5CD-0443-4F03-9929-FA3F04BFD622}" type="presOf" srcId="{3F8DCA0D-209F-4ADD-87B6-F5F95AA3E007}" destId="{70F9E6C6-F971-467A-A950-35C387B45D92}" srcOrd="0" destOrd="0" presId="urn:microsoft.com/office/officeart/2005/8/layout/radial5"/>
    <dgm:cxn modelId="{613F75B2-556F-4C62-90F3-CB7BDCD7DF78}" type="presOf" srcId="{A9DE227D-700D-4C5A-B228-6D32790C0361}" destId="{88FE6819-C7DE-4670-B9EE-76319709509B}" srcOrd="1" destOrd="0" presId="urn:microsoft.com/office/officeart/2005/8/layout/radial5"/>
    <dgm:cxn modelId="{1F915035-64E7-454D-9728-1D40949180C5}" type="presOf" srcId="{C2B2D00F-2BBB-4CB9-8869-D4E0AF946B44}" destId="{ABC1C840-7F93-41A6-9543-851AF436E18A}" srcOrd="0" destOrd="0" presId="urn:microsoft.com/office/officeart/2005/8/layout/radial5"/>
    <dgm:cxn modelId="{3B55158F-AD55-4809-8A06-6288989F1D87}" type="presOf" srcId="{4CC192AE-E793-4D92-B65D-C78225D2E38D}" destId="{11407F21-F028-4FBD-9F62-1190005AF0FB}" srcOrd="0" destOrd="0" presId="urn:microsoft.com/office/officeart/2005/8/layout/radial5"/>
    <dgm:cxn modelId="{E3E57469-4B15-4392-A5B2-16FEED7FD701}" type="presOf" srcId="{B0C298A5-5A86-4B40-873B-D369FE6932C4}" destId="{59C9E7AB-AD0F-4C0D-93CE-7C129E1FD787}" srcOrd="1" destOrd="0" presId="urn:microsoft.com/office/officeart/2005/8/layout/radial5"/>
    <dgm:cxn modelId="{76144057-2801-4A8B-9E32-5D8AB96D57B4}" srcId="{306F3121-45C7-43F2-BADC-19E3683E5D0E}" destId="{4CC192AE-E793-4D92-B65D-C78225D2E38D}" srcOrd="1" destOrd="0" parTransId="{7CA2A07A-D154-48B2-B8E4-0D38BC7B46DA}" sibTransId="{50127C91-5F3B-45DC-8BD1-2137C58D807B}"/>
    <dgm:cxn modelId="{CC54C50F-784D-43FA-BA80-C29AB7A2E256}" type="presOf" srcId="{289DAFA8-13A6-4E28-BF73-E3B0CA3673AD}" destId="{86826395-F3FA-43FE-9E37-D63E359EE6E5}" srcOrd="1" destOrd="0" presId="urn:microsoft.com/office/officeart/2005/8/layout/radial5"/>
    <dgm:cxn modelId="{41903BF7-2BFE-4FDC-BDB3-986FE3E778EB}" type="presOf" srcId="{7CA2A07A-D154-48B2-B8E4-0D38BC7B46DA}" destId="{A6847F6D-869F-4FA8-BE36-B0C6BCFA798C}" srcOrd="0" destOrd="0" presId="urn:microsoft.com/office/officeart/2005/8/layout/radial5"/>
    <dgm:cxn modelId="{0825C1EC-29B9-43E5-BCE3-A4AA64CF997B}" srcId="{306F3121-45C7-43F2-BADC-19E3683E5D0E}" destId="{6941AFF1-9563-4391-AF0B-0C18C0BB5F32}" srcOrd="2" destOrd="0" parTransId="{A9DE227D-700D-4C5A-B228-6D32790C0361}" sibTransId="{4A128919-9B72-4915-98B7-D2B31C9A9A43}"/>
    <dgm:cxn modelId="{58B17E3F-66D3-4746-BC25-2AB3FD478773}" type="presOf" srcId="{80B65363-3EC3-449C-8968-59E855EAE44B}" destId="{397ABF42-2C49-4BA0-B88E-15BD0E3DB7C5}" srcOrd="0" destOrd="0" presId="urn:microsoft.com/office/officeart/2005/8/layout/radial5"/>
    <dgm:cxn modelId="{1734579D-DF08-48CA-A1AF-0EDA1AA35A2D}" type="presOf" srcId="{9B0A19FA-A419-4EB2-813A-4501557DF0D8}" destId="{46359D73-4450-42A6-830D-FE77BBB99BAC}" srcOrd="0" destOrd="0" presId="urn:microsoft.com/office/officeart/2005/8/layout/radial5"/>
    <dgm:cxn modelId="{CECA9A6E-063D-489B-B487-3D7878E90F56}" type="presOf" srcId="{CC533EFD-C660-420E-AAD3-42805C8822B3}" destId="{840A7DFF-49E0-4B7B-B756-D0D38030E190}" srcOrd="0" destOrd="0" presId="urn:microsoft.com/office/officeart/2005/8/layout/radial5"/>
    <dgm:cxn modelId="{A4D29D1F-6CB9-4AB2-996E-90F55D4A38FC}" srcId="{306F3121-45C7-43F2-BADC-19E3683E5D0E}" destId="{80B65363-3EC3-449C-8968-59E855EAE44B}" srcOrd="4" destOrd="0" parTransId="{B19635A0-16C9-4D6D-980F-8B1A92886FA5}" sibTransId="{9CB13CE2-E5FA-4FA4-97FF-D59A2D430964}"/>
    <dgm:cxn modelId="{C69995E6-A692-46DF-8947-7D5AC324AE88}" srcId="{306F3121-45C7-43F2-BADC-19E3683E5D0E}" destId="{3F8DCA0D-209F-4ADD-87B6-F5F95AA3E007}" srcOrd="6" destOrd="0" parTransId="{289DAFA8-13A6-4E28-BF73-E3B0CA3673AD}" sibTransId="{A87D4BA8-E096-4A68-A7DB-1EAC0E5F82E3}"/>
    <dgm:cxn modelId="{21F85CF5-6C05-4C1D-9E39-6ACC0D1BE1F4}" type="presOf" srcId="{5BDB183F-BA9A-4A74-83E1-4F38E59C8095}" destId="{241A357C-DBB3-468C-B87D-62F89AD1AD03}" srcOrd="0" destOrd="0" presId="urn:microsoft.com/office/officeart/2005/8/layout/radial5"/>
    <dgm:cxn modelId="{339C769F-5664-432F-A2B1-8DAA913AE71D}" type="presOf" srcId="{B19635A0-16C9-4D6D-980F-8B1A92886FA5}" destId="{3EE14AC5-1D6E-43AE-B847-7DFEDB22CB00}" srcOrd="1" destOrd="0" presId="urn:microsoft.com/office/officeart/2005/8/layout/radial5"/>
    <dgm:cxn modelId="{A1949428-4154-43F3-BE3C-A0C6211E1B50}" srcId="{2B90D16D-48B1-4B01-9350-B213FE952BB1}" destId="{306F3121-45C7-43F2-BADC-19E3683E5D0E}" srcOrd="0" destOrd="0" parTransId="{D4A0A32B-40F7-47A6-BE9D-F95343F20CF7}" sibTransId="{E0C30F2F-C249-48AB-8AC1-D9ED9C1E2116}"/>
    <dgm:cxn modelId="{64306BE8-C485-49A6-BD4D-039285334133}" type="presOf" srcId="{B0C298A5-5A86-4B40-873B-D369FE6932C4}" destId="{12052458-203A-47CC-9EDD-A2BD30910241}" srcOrd="0" destOrd="0" presId="urn:microsoft.com/office/officeart/2005/8/layout/radial5"/>
    <dgm:cxn modelId="{966F85C1-FFC1-4284-B80B-110897F17E39}" type="presOf" srcId="{289DAFA8-13A6-4E28-BF73-E3B0CA3673AD}" destId="{97101A77-083F-400D-9763-059D110888FC}" srcOrd="0" destOrd="0" presId="urn:microsoft.com/office/officeart/2005/8/layout/radial5"/>
    <dgm:cxn modelId="{4655B09C-57DB-4DAE-8FC2-C12AD8F44023}" type="presOf" srcId="{6941AFF1-9563-4391-AF0B-0C18C0BB5F32}" destId="{8D8A490C-1DEE-45B9-ADBF-060420F410BB}" srcOrd="0" destOrd="0" presId="urn:microsoft.com/office/officeart/2005/8/layout/radial5"/>
    <dgm:cxn modelId="{9A7E4F78-46BC-4C79-B971-43090D567B0D}" type="presOf" srcId="{E4300881-9C59-44D9-8F51-050902D1ED66}" destId="{A46D70FB-36D2-4870-AA2A-FCF7CD1DA6B0}" srcOrd="0" destOrd="0" presId="urn:microsoft.com/office/officeart/2005/8/layout/radial5"/>
    <dgm:cxn modelId="{C15A8DF3-2C5F-4EEC-8D8D-465497FA61D6}" type="presOf" srcId="{A9DE227D-700D-4C5A-B228-6D32790C0361}" destId="{F705EE0F-9090-4C35-A6BC-B8CD355B539C}" srcOrd="0" destOrd="0" presId="urn:microsoft.com/office/officeart/2005/8/layout/radial5"/>
    <dgm:cxn modelId="{06BD2C0F-18B3-4E16-9C78-732D71C19358}" type="presOf" srcId="{5BDB183F-BA9A-4A74-83E1-4F38E59C8095}" destId="{089744F3-E31E-4B98-8313-10308C279464}" srcOrd="1" destOrd="0" presId="urn:microsoft.com/office/officeart/2005/8/layout/radial5"/>
    <dgm:cxn modelId="{17B41E04-3482-483F-9AB7-34163215B8AA}" type="presOf" srcId="{306F3121-45C7-43F2-BADC-19E3683E5D0E}" destId="{9857AC93-91DF-488F-BF98-9866EEB30F36}" srcOrd="0" destOrd="0" presId="urn:microsoft.com/office/officeart/2005/8/layout/radial5"/>
    <dgm:cxn modelId="{57EF4265-BC28-41D1-B3A6-6C383733510F}" type="presOf" srcId="{4E9ABBA7-B56A-45FF-9D80-113FAFA19CA2}" destId="{9F15C340-2BE3-478A-B957-35101C273FEA}" srcOrd="0" destOrd="0" presId="urn:microsoft.com/office/officeart/2005/8/layout/radial5"/>
    <dgm:cxn modelId="{43EE2F0E-1F17-4D9E-A9F0-ACB779633449}" type="presOf" srcId="{2B90D16D-48B1-4B01-9350-B213FE952BB1}" destId="{08AB5DF8-A7BE-4FC2-BF1D-795B678B4733}" srcOrd="0" destOrd="0" presId="urn:microsoft.com/office/officeart/2005/8/layout/radial5"/>
    <dgm:cxn modelId="{2024DFB6-F6E5-47BB-953E-C577F20DE2CA}" type="presOf" srcId="{4E9ABBA7-B56A-45FF-9D80-113FAFA19CA2}" destId="{E01EACA1-64CD-4A3F-AAD6-F09436B75788}" srcOrd="1" destOrd="0" presId="urn:microsoft.com/office/officeart/2005/8/layout/radial5"/>
    <dgm:cxn modelId="{D7094F79-C08B-4F0E-98E8-D4E67F761ADB}" srcId="{306F3121-45C7-43F2-BADC-19E3683E5D0E}" destId="{9B0A19FA-A419-4EB2-813A-4501557DF0D8}" srcOrd="0" destOrd="0" parTransId="{C2B2D00F-2BBB-4CB9-8869-D4E0AF946B44}" sibTransId="{F3A09763-BA32-430B-B590-8D0FDD6EBB0E}"/>
    <dgm:cxn modelId="{AEA27ABC-60E0-4255-8D1D-D3ED05E6572A}" type="presOf" srcId="{C2B2D00F-2BBB-4CB9-8869-D4E0AF946B44}" destId="{273C2782-3A41-456C-85D1-382F769D3345}" srcOrd="1" destOrd="0" presId="urn:microsoft.com/office/officeart/2005/8/layout/radial5"/>
    <dgm:cxn modelId="{28B66E5D-A752-4E3B-89D2-7F37BD09F24A}" type="presOf" srcId="{8879B510-401C-4532-9519-3F3DF5F5BB7B}" destId="{CBD19B21-1C43-46A3-962F-0B2F24118901}" srcOrd="0" destOrd="0" presId="urn:microsoft.com/office/officeart/2005/8/layout/radial5"/>
    <dgm:cxn modelId="{2DAECEDB-2057-4794-AB0A-A584CD219026}" srcId="{306F3121-45C7-43F2-BADC-19E3683E5D0E}" destId="{8879B510-401C-4532-9519-3F3DF5F5BB7B}" srcOrd="5" destOrd="0" parTransId="{4E9ABBA7-B56A-45FF-9D80-113FAFA19CA2}" sibTransId="{85316150-882E-4C17-AD75-1D91C53AE1D8}"/>
    <dgm:cxn modelId="{27B1AF84-05C4-48B1-92DE-E676018677EB}" type="presOf" srcId="{B19635A0-16C9-4D6D-980F-8B1A92886FA5}" destId="{1033BA76-8646-4468-AC91-A9BD87F4BC25}" srcOrd="0" destOrd="0" presId="urn:microsoft.com/office/officeart/2005/8/layout/radial5"/>
    <dgm:cxn modelId="{669F8668-5E2E-4B32-91CB-BC889257A5CB}" type="presParOf" srcId="{08AB5DF8-A7BE-4FC2-BF1D-795B678B4733}" destId="{9857AC93-91DF-488F-BF98-9866EEB30F36}" srcOrd="0" destOrd="0" presId="urn:microsoft.com/office/officeart/2005/8/layout/radial5"/>
    <dgm:cxn modelId="{E1A38989-8721-4170-BBC0-55AFD2337B3B}" type="presParOf" srcId="{08AB5DF8-A7BE-4FC2-BF1D-795B678B4733}" destId="{ABC1C840-7F93-41A6-9543-851AF436E18A}" srcOrd="1" destOrd="0" presId="urn:microsoft.com/office/officeart/2005/8/layout/radial5"/>
    <dgm:cxn modelId="{3F495D1E-9127-4104-8292-C2A1F9357F59}" type="presParOf" srcId="{ABC1C840-7F93-41A6-9543-851AF436E18A}" destId="{273C2782-3A41-456C-85D1-382F769D3345}" srcOrd="0" destOrd="0" presId="urn:microsoft.com/office/officeart/2005/8/layout/radial5"/>
    <dgm:cxn modelId="{2C33C170-11DF-47B1-8AE0-35926569F2AE}" type="presParOf" srcId="{08AB5DF8-A7BE-4FC2-BF1D-795B678B4733}" destId="{46359D73-4450-42A6-830D-FE77BBB99BAC}" srcOrd="2" destOrd="0" presId="urn:microsoft.com/office/officeart/2005/8/layout/radial5"/>
    <dgm:cxn modelId="{ADCE0153-6F54-419B-8CED-F6E984AAF7C3}" type="presParOf" srcId="{08AB5DF8-A7BE-4FC2-BF1D-795B678B4733}" destId="{A6847F6D-869F-4FA8-BE36-B0C6BCFA798C}" srcOrd="3" destOrd="0" presId="urn:microsoft.com/office/officeart/2005/8/layout/radial5"/>
    <dgm:cxn modelId="{22B63B74-7B85-4C6B-9B7C-FB993C480CB9}" type="presParOf" srcId="{A6847F6D-869F-4FA8-BE36-B0C6BCFA798C}" destId="{1E5585D1-340B-4984-A7BB-19D81AC50E66}" srcOrd="0" destOrd="0" presId="urn:microsoft.com/office/officeart/2005/8/layout/radial5"/>
    <dgm:cxn modelId="{B0421D78-E3FF-4B6E-9440-202DC0864414}" type="presParOf" srcId="{08AB5DF8-A7BE-4FC2-BF1D-795B678B4733}" destId="{11407F21-F028-4FBD-9F62-1190005AF0FB}" srcOrd="4" destOrd="0" presId="urn:microsoft.com/office/officeart/2005/8/layout/radial5"/>
    <dgm:cxn modelId="{28E399B3-3D18-4A90-9440-6AE2CF54A850}" type="presParOf" srcId="{08AB5DF8-A7BE-4FC2-BF1D-795B678B4733}" destId="{F705EE0F-9090-4C35-A6BC-B8CD355B539C}" srcOrd="5" destOrd="0" presId="urn:microsoft.com/office/officeart/2005/8/layout/radial5"/>
    <dgm:cxn modelId="{B907C2B4-B1FF-4AD2-8510-7B80933E57E6}" type="presParOf" srcId="{F705EE0F-9090-4C35-A6BC-B8CD355B539C}" destId="{88FE6819-C7DE-4670-B9EE-76319709509B}" srcOrd="0" destOrd="0" presId="urn:microsoft.com/office/officeart/2005/8/layout/radial5"/>
    <dgm:cxn modelId="{951658B2-A8C8-4E97-9B56-ADEA6BA09AAC}" type="presParOf" srcId="{08AB5DF8-A7BE-4FC2-BF1D-795B678B4733}" destId="{8D8A490C-1DEE-45B9-ADBF-060420F410BB}" srcOrd="6" destOrd="0" presId="urn:microsoft.com/office/officeart/2005/8/layout/radial5"/>
    <dgm:cxn modelId="{F35C024A-4688-436C-A0F5-0053B47B706A}" type="presParOf" srcId="{08AB5DF8-A7BE-4FC2-BF1D-795B678B4733}" destId="{241A357C-DBB3-468C-B87D-62F89AD1AD03}" srcOrd="7" destOrd="0" presId="urn:microsoft.com/office/officeart/2005/8/layout/radial5"/>
    <dgm:cxn modelId="{96CBA9E0-15EC-4B0C-B2A5-4E913D7BE0B7}" type="presParOf" srcId="{241A357C-DBB3-468C-B87D-62F89AD1AD03}" destId="{089744F3-E31E-4B98-8313-10308C279464}" srcOrd="0" destOrd="0" presId="urn:microsoft.com/office/officeart/2005/8/layout/radial5"/>
    <dgm:cxn modelId="{975A1D65-B848-480E-9853-C4F77359500A}" type="presParOf" srcId="{08AB5DF8-A7BE-4FC2-BF1D-795B678B4733}" destId="{840A7DFF-49E0-4B7B-B756-D0D38030E190}" srcOrd="8" destOrd="0" presId="urn:microsoft.com/office/officeart/2005/8/layout/radial5"/>
    <dgm:cxn modelId="{1E788331-4CB2-41AF-9281-F8B5E42CFCA9}" type="presParOf" srcId="{08AB5DF8-A7BE-4FC2-BF1D-795B678B4733}" destId="{1033BA76-8646-4468-AC91-A9BD87F4BC25}" srcOrd="9" destOrd="0" presId="urn:microsoft.com/office/officeart/2005/8/layout/radial5"/>
    <dgm:cxn modelId="{D7CC49AD-3649-4060-A878-2F1385588D90}" type="presParOf" srcId="{1033BA76-8646-4468-AC91-A9BD87F4BC25}" destId="{3EE14AC5-1D6E-43AE-B847-7DFEDB22CB00}" srcOrd="0" destOrd="0" presId="urn:microsoft.com/office/officeart/2005/8/layout/radial5"/>
    <dgm:cxn modelId="{B4BD6352-A130-4A07-AC6B-DA380780013D}" type="presParOf" srcId="{08AB5DF8-A7BE-4FC2-BF1D-795B678B4733}" destId="{397ABF42-2C49-4BA0-B88E-15BD0E3DB7C5}" srcOrd="10" destOrd="0" presId="urn:microsoft.com/office/officeart/2005/8/layout/radial5"/>
    <dgm:cxn modelId="{9804FF29-D40F-4721-AC6D-09A5DC744D44}" type="presParOf" srcId="{08AB5DF8-A7BE-4FC2-BF1D-795B678B4733}" destId="{9F15C340-2BE3-478A-B957-35101C273FEA}" srcOrd="11" destOrd="0" presId="urn:microsoft.com/office/officeart/2005/8/layout/radial5"/>
    <dgm:cxn modelId="{37AC8EF7-393B-4B5F-9A81-E97915F5EE9A}" type="presParOf" srcId="{9F15C340-2BE3-478A-B957-35101C273FEA}" destId="{E01EACA1-64CD-4A3F-AAD6-F09436B75788}" srcOrd="0" destOrd="0" presId="urn:microsoft.com/office/officeart/2005/8/layout/radial5"/>
    <dgm:cxn modelId="{893A9F97-589D-48B3-9EEC-62C977C3CE42}" type="presParOf" srcId="{08AB5DF8-A7BE-4FC2-BF1D-795B678B4733}" destId="{CBD19B21-1C43-46A3-962F-0B2F24118901}" srcOrd="12" destOrd="0" presId="urn:microsoft.com/office/officeart/2005/8/layout/radial5"/>
    <dgm:cxn modelId="{24670F8B-1D75-4BA4-9952-C243E510D3AB}" type="presParOf" srcId="{08AB5DF8-A7BE-4FC2-BF1D-795B678B4733}" destId="{97101A77-083F-400D-9763-059D110888FC}" srcOrd="13" destOrd="0" presId="urn:microsoft.com/office/officeart/2005/8/layout/radial5"/>
    <dgm:cxn modelId="{734B456B-F384-4FD1-A56B-54738C17314D}" type="presParOf" srcId="{97101A77-083F-400D-9763-059D110888FC}" destId="{86826395-F3FA-43FE-9E37-D63E359EE6E5}" srcOrd="0" destOrd="0" presId="urn:microsoft.com/office/officeart/2005/8/layout/radial5"/>
    <dgm:cxn modelId="{EAE6846B-9C07-4012-8149-8F50B83845F5}" type="presParOf" srcId="{08AB5DF8-A7BE-4FC2-BF1D-795B678B4733}" destId="{70F9E6C6-F971-467A-A950-35C387B45D92}" srcOrd="14" destOrd="0" presId="urn:microsoft.com/office/officeart/2005/8/layout/radial5"/>
    <dgm:cxn modelId="{C7806F48-8231-4BD3-B173-0E9BFAB40079}" type="presParOf" srcId="{08AB5DF8-A7BE-4FC2-BF1D-795B678B4733}" destId="{12052458-203A-47CC-9EDD-A2BD30910241}" srcOrd="15" destOrd="0" presId="urn:microsoft.com/office/officeart/2005/8/layout/radial5"/>
    <dgm:cxn modelId="{59EC144F-2005-4AE5-A0C8-BB402E219999}" type="presParOf" srcId="{12052458-203A-47CC-9EDD-A2BD30910241}" destId="{59C9E7AB-AD0F-4C0D-93CE-7C129E1FD787}" srcOrd="0" destOrd="0" presId="urn:microsoft.com/office/officeart/2005/8/layout/radial5"/>
    <dgm:cxn modelId="{668545F2-4554-4B6B-8133-F9097EBD591D}" type="presParOf" srcId="{08AB5DF8-A7BE-4FC2-BF1D-795B678B4733}" destId="{A46D70FB-36D2-4870-AA2A-FCF7CD1DA6B0}" srcOrd="1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BEAC938-EA8F-4E8D-9F96-14067875EB35}" type="doc">
      <dgm:prSet loTypeId="urn:microsoft.com/office/officeart/2005/8/layout/hierarchy1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pPr rtl="1"/>
          <a:endParaRPr lang="fa-IR"/>
        </a:p>
      </dgm:t>
    </dgm:pt>
    <dgm:pt modelId="{9A83DB65-E24A-4754-A26A-BAE424E44B0F}">
      <dgm:prSet phldrT="[Text]" custT="1"/>
      <dgm:spPr/>
      <dgm:t>
        <a:bodyPr/>
        <a:lstStyle/>
        <a:p>
          <a:pPr rtl="1"/>
          <a:r>
            <a:rPr lang="fa-IR" sz="2000" dirty="0" smtClean="0">
              <a:cs typeface="B Titr" panose="00000700000000000000" pitchFamily="2" charset="-78"/>
            </a:rPr>
            <a:t>آمادگی یادگیری الکترونیکی</a:t>
          </a:r>
          <a:endParaRPr lang="fa-IR" sz="2000" dirty="0">
            <a:cs typeface="B Titr" panose="00000700000000000000" pitchFamily="2" charset="-78"/>
          </a:endParaRPr>
        </a:p>
      </dgm:t>
    </dgm:pt>
    <dgm:pt modelId="{A62794A5-2C69-42B7-AD3E-015A96A06330}" type="parTrans" cxnId="{A088A791-D00D-492C-BECB-5B798EE9295C}">
      <dgm:prSet/>
      <dgm:spPr/>
      <dgm:t>
        <a:bodyPr/>
        <a:lstStyle/>
        <a:p>
          <a:pPr rtl="1"/>
          <a:endParaRPr lang="fa-IR" sz="2000">
            <a:cs typeface="B Titr" panose="00000700000000000000" pitchFamily="2" charset="-78"/>
          </a:endParaRPr>
        </a:p>
      </dgm:t>
    </dgm:pt>
    <dgm:pt modelId="{78F33427-A62F-4FD5-9CD2-44E0AB64FD4F}" type="sibTrans" cxnId="{A088A791-D00D-492C-BECB-5B798EE9295C}">
      <dgm:prSet/>
      <dgm:spPr/>
      <dgm:t>
        <a:bodyPr/>
        <a:lstStyle/>
        <a:p>
          <a:pPr rtl="1"/>
          <a:endParaRPr lang="fa-IR" sz="2000">
            <a:cs typeface="B Titr" panose="00000700000000000000" pitchFamily="2" charset="-78"/>
          </a:endParaRPr>
        </a:p>
      </dgm:t>
    </dgm:pt>
    <dgm:pt modelId="{D47436FB-045F-4FD6-B8B1-1EBF74B05428}">
      <dgm:prSet phldrT="[Text]" custT="1"/>
      <dgm:spPr/>
      <dgm:t>
        <a:bodyPr/>
        <a:lstStyle/>
        <a:p>
          <a:pPr rtl="1"/>
          <a:r>
            <a:rPr lang="fa-IR" sz="2400" dirty="0" smtClean="0">
              <a:cs typeface="B Titr" panose="00000700000000000000" pitchFamily="2" charset="-78"/>
            </a:rPr>
            <a:t>منابع</a:t>
          </a:r>
          <a:endParaRPr lang="fa-IR" sz="2000" dirty="0">
            <a:cs typeface="B Titr" panose="00000700000000000000" pitchFamily="2" charset="-78"/>
          </a:endParaRPr>
        </a:p>
      </dgm:t>
    </dgm:pt>
    <dgm:pt modelId="{ABF1CC95-0675-4D21-A6B8-1FF625E678B5}" type="parTrans" cxnId="{B62209A5-2C84-436D-91A4-56F13989982A}">
      <dgm:prSet/>
      <dgm:spPr/>
      <dgm:t>
        <a:bodyPr/>
        <a:lstStyle/>
        <a:p>
          <a:pPr rtl="1"/>
          <a:endParaRPr lang="fa-IR" sz="2000">
            <a:cs typeface="B Titr" panose="00000700000000000000" pitchFamily="2" charset="-78"/>
          </a:endParaRPr>
        </a:p>
      </dgm:t>
    </dgm:pt>
    <dgm:pt modelId="{CA299BA9-E438-4076-AC7E-3C7D86AD2C85}" type="sibTrans" cxnId="{B62209A5-2C84-436D-91A4-56F13989982A}">
      <dgm:prSet/>
      <dgm:spPr/>
      <dgm:t>
        <a:bodyPr/>
        <a:lstStyle/>
        <a:p>
          <a:pPr rtl="1"/>
          <a:endParaRPr lang="fa-IR" sz="2000">
            <a:cs typeface="B Titr" panose="00000700000000000000" pitchFamily="2" charset="-78"/>
          </a:endParaRPr>
        </a:p>
      </dgm:t>
    </dgm:pt>
    <dgm:pt modelId="{64552997-9722-4EF1-A045-79062EA59041}">
      <dgm:prSet phldrT="[Text]" custT="1"/>
      <dgm:spPr/>
      <dgm:t>
        <a:bodyPr/>
        <a:lstStyle/>
        <a:p>
          <a:pPr rtl="1"/>
          <a:r>
            <a:rPr lang="fa-IR" sz="1600" dirty="0" smtClean="0">
              <a:cs typeface="B Titr" panose="00000700000000000000" pitchFamily="2" charset="-78"/>
            </a:rPr>
            <a:t>آمادگی فنّاورانه</a:t>
          </a:r>
          <a:endParaRPr lang="fa-IR" sz="1600" dirty="0">
            <a:cs typeface="B Titr" panose="00000700000000000000" pitchFamily="2" charset="-78"/>
          </a:endParaRPr>
        </a:p>
      </dgm:t>
    </dgm:pt>
    <dgm:pt modelId="{18793351-D26C-4660-AC91-7A6EAF9A1A9C}" type="parTrans" cxnId="{3184C573-6BE4-4F27-9A50-E973F8DA8A61}">
      <dgm:prSet/>
      <dgm:spPr/>
      <dgm:t>
        <a:bodyPr/>
        <a:lstStyle/>
        <a:p>
          <a:pPr rtl="1"/>
          <a:endParaRPr lang="fa-IR" sz="2000">
            <a:cs typeface="B Titr" panose="00000700000000000000" pitchFamily="2" charset="-78"/>
          </a:endParaRPr>
        </a:p>
      </dgm:t>
    </dgm:pt>
    <dgm:pt modelId="{1D47FBC8-9906-4564-9DE5-7E6256891B1E}" type="sibTrans" cxnId="{3184C573-6BE4-4F27-9A50-E973F8DA8A61}">
      <dgm:prSet/>
      <dgm:spPr/>
      <dgm:t>
        <a:bodyPr/>
        <a:lstStyle/>
        <a:p>
          <a:pPr rtl="1"/>
          <a:endParaRPr lang="fa-IR" sz="2000">
            <a:cs typeface="B Titr" panose="00000700000000000000" pitchFamily="2" charset="-78"/>
          </a:endParaRPr>
        </a:p>
      </dgm:t>
    </dgm:pt>
    <dgm:pt modelId="{447A17B0-CE0F-4F80-86A0-8643BE9D76F7}">
      <dgm:prSet phldrT="[Text]" custT="1"/>
      <dgm:spPr/>
      <dgm:t>
        <a:bodyPr/>
        <a:lstStyle/>
        <a:p>
          <a:pPr rtl="1"/>
          <a:r>
            <a:rPr lang="fa-IR" sz="1600" dirty="0" smtClean="0">
              <a:cs typeface="B Titr" panose="00000700000000000000" pitchFamily="2" charset="-78"/>
            </a:rPr>
            <a:t>آمادگی مالی</a:t>
          </a:r>
          <a:endParaRPr lang="fa-IR" sz="1600" dirty="0">
            <a:cs typeface="B Titr" panose="00000700000000000000" pitchFamily="2" charset="-78"/>
          </a:endParaRPr>
        </a:p>
      </dgm:t>
    </dgm:pt>
    <dgm:pt modelId="{F5B65699-3204-4EAA-B706-9B4267523E8F}" type="parTrans" cxnId="{C8CAE279-5B1D-451D-9D94-7C311E967AC8}">
      <dgm:prSet/>
      <dgm:spPr/>
      <dgm:t>
        <a:bodyPr/>
        <a:lstStyle/>
        <a:p>
          <a:pPr rtl="1"/>
          <a:endParaRPr lang="fa-IR" sz="2000">
            <a:cs typeface="B Titr" panose="00000700000000000000" pitchFamily="2" charset="-78"/>
          </a:endParaRPr>
        </a:p>
      </dgm:t>
    </dgm:pt>
    <dgm:pt modelId="{AA72E2A3-2777-4160-9FDD-EBA25A71712F}" type="sibTrans" cxnId="{C8CAE279-5B1D-451D-9D94-7C311E967AC8}">
      <dgm:prSet/>
      <dgm:spPr/>
      <dgm:t>
        <a:bodyPr/>
        <a:lstStyle/>
        <a:p>
          <a:pPr rtl="1"/>
          <a:endParaRPr lang="fa-IR" sz="2000">
            <a:cs typeface="B Titr" panose="00000700000000000000" pitchFamily="2" charset="-78"/>
          </a:endParaRPr>
        </a:p>
      </dgm:t>
    </dgm:pt>
    <dgm:pt modelId="{C3FF6E77-DC14-4292-9092-FAA4DE3C2B73}">
      <dgm:prSet phldrT="[Text]" custT="1"/>
      <dgm:spPr/>
      <dgm:t>
        <a:bodyPr/>
        <a:lstStyle/>
        <a:p>
          <a:pPr rtl="1"/>
          <a:r>
            <a:rPr lang="fa-IR" sz="2400" dirty="0" smtClean="0">
              <a:cs typeface="B Titr" panose="00000700000000000000" pitchFamily="2" charset="-78"/>
            </a:rPr>
            <a:t>آموزش</a:t>
          </a:r>
          <a:endParaRPr lang="fa-IR" sz="2000" dirty="0">
            <a:cs typeface="B Titr" panose="00000700000000000000" pitchFamily="2" charset="-78"/>
          </a:endParaRPr>
        </a:p>
      </dgm:t>
    </dgm:pt>
    <dgm:pt modelId="{5FB9BB4A-C0C4-43F7-AECE-E3F7AF14E31F}" type="parTrans" cxnId="{4226DF3B-2135-4221-BC47-10C743D48418}">
      <dgm:prSet/>
      <dgm:spPr/>
      <dgm:t>
        <a:bodyPr/>
        <a:lstStyle/>
        <a:p>
          <a:pPr rtl="1"/>
          <a:endParaRPr lang="fa-IR" sz="2000">
            <a:cs typeface="B Titr" panose="00000700000000000000" pitchFamily="2" charset="-78"/>
          </a:endParaRPr>
        </a:p>
      </dgm:t>
    </dgm:pt>
    <dgm:pt modelId="{748ACC00-0955-4B4D-8C30-11C277574E7B}" type="sibTrans" cxnId="{4226DF3B-2135-4221-BC47-10C743D48418}">
      <dgm:prSet/>
      <dgm:spPr/>
      <dgm:t>
        <a:bodyPr/>
        <a:lstStyle/>
        <a:p>
          <a:pPr rtl="1"/>
          <a:endParaRPr lang="fa-IR" sz="2000">
            <a:cs typeface="B Titr" panose="00000700000000000000" pitchFamily="2" charset="-78"/>
          </a:endParaRPr>
        </a:p>
      </dgm:t>
    </dgm:pt>
    <dgm:pt modelId="{E692ADCB-467D-4859-A3DF-6DC2650657DA}">
      <dgm:prSet phldrT="[Text]" custT="1"/>
      <dgm:spPr/>
      <dgm:t>
        <a:bodyPr/>
        <a:lstStyle/>
        <a:p>
          <a:pPr rtl="1"/>
          <a:r>
            <a:rPr lang="fa-IR" sz="1600" dirty="0" smtClean="0">
              <a:cs typeface="B Titr" panose="00000700000000000000" pitchFamily="2" charset="-78"/>
            </a:rPr>
            <a:t>آمادگی محتوا</a:t>
          </a:r>
          <a:endParaRPr lang="fa-IR" sz="1600" dirty="0">
            <a:cs typeface="B Titr" panose="00000700000000000000" pitchFamily="2" charset="-78"/>
          </a:endParaRPr>
        </a:p>
      </dgm:t>
    </dgm:pt>
    <dgm:pt modelId="{346FD4DE-6B82-401A-AAFE-1D591EE9FA3E}" type="parTrans" cxnId="{C107BC2D-50BD-4BA4-9FE0-6BB978F10058}">
      <dgm:prSet/>
      <dgm:spPr/>
      <dgm:t>
        <a:bodyPr/>
        <a:lstStyle/>
        <a:p>
          <a:pPr rtl="1"/>
          <a:endParaRPr lang="fa-IR" sz="2000">
            <a:cs typeface="B Titr" panose="00000700000000000000" pitchFamily="2" charset="-78"/>
          </a:endParaRPr>
        </a:p>
      </dgm:t>
    </dgm:pt>
    <dgm:pt modelId="{C4CC9992-5AAD-4D05-A857-4CC83436DA69}" type="sibTrans" cxnId="{C107BC2D-50BD-4BA4-9FE0-6BB978F10058}">
      <dgm:prSet/>
      <dgm:spPr/>
      <dgm:t>
        <a:bodyPr/>
        <a:lstStyle/>
        <a:p>
          <a:pPr rtl="1"/>
          <a:endParaRPr lang="fa-IR" sz="2000">
            <a:cs typeface="B Titr" panose="00000700000000000000" pitchFamily="2" charset="-78"/>
          </a:endParaRPr>
        </a:p>
      </dgm:t>
    </dgm:pt>
    <dgm:pt modelId="{591AB739-905D-4A51-8FBF-B5FFC05AA43E}">
      <dgm:prSet custT="1"/>
      <dgm:spPr/>
      <dgm:t>
        <a:bodyPr/>
        <a:lstStyle/>
        <a:p>
          <a:pPr rtl="1"/>
          <a:r>
            <a:rPr lang="fa-IR" sz="2400" dirty="0" smtClean="0">
              <a:cs typeface="B Titr" panose="00000700000000000000" pitchFamily="2" charset="-78"/>
            </a:rPr>
            <a:t>محیط</a:t>
          </a:r>
          <a:endParaRPr lang="fa-IR" sz="2800" dirty="0">
            <a:cs typeface="B Titr" panose="00000700000000000000" pitchFamily="2" charset="-78"/>
          </a:endParaRPr>
        </a:p>
      </dgm:t>
    </dgm:pt>
    <dgm:pt modelId="{7FC891F4-8AAA-4AA7-99B8-B70471685712}" type="parTrans" cxnId="{04AB1619-1ABE-4450-AF4E-B583A157BB6C}">
      <dgm:prSet/>
      <dgm:spPr/>
      <dgm:t>
        <a:bodyPr/>
        <a:lstStyle/>
        <a:p>
          <a:pPr rtl="1"/>
          <a:endParaRPr lang="fa-IR" sz="2000"/>
        </a:p>
      </dgm:t>
    </dgm:pt>
    <dgm:pt modelId="{CA4564BB-F9C9-4427-BAC8-64E62CABAB83}" type="sibTrans" cxnId="{04AB1619-1ABE-4450-AF4E-B583A157BB6C}">
      <dgm:prSet/>
      <dgm:spPr/>
      <dgm:t>
        <a:bodyPr/>
        <a:lstStyle/>
        <a:p>
          <a:pPr rtl="1"/>
          <a:endParaRPr lang="fa-IR" sz="2000"/>
        </a:p>
      </dgm:t>
    </dgm:pt>
    <dgm:pt modelId="{8CE26280-8612-4C84-8326-9ABB7AD24732}">
      <dgm:prSet custT="1"/>
      <dgm:spPr/>
      <dgm:t>
        <a:bodyPr/>
        <a:lstStyle/>
        <a:p>
          <a:pPr rtl="1"/>
          <a:r>
            <a:rPr lang="fa-IR" sz="1600" dirty="0" smtClean="0">
              <a:cs typeface="B Titr" panose="00000700000000000000" pitchFamily="2" charset="-78"/>
            </a:rPr>
            <a:t>آمادگی منابع انسانی</a:t>
          </a:r>
          <a:endParaRPr lang="fa-IR" sz="1600" dirty="0">
            <a:cs typeface="B Titr" panose="00000700000000000000" pitchFamily="2" charset="-78"/>
          </a:endParaRPr>
        </a:p>
      </dgm:t>
    </dgm:pt>
    <dgm:pt modelId="{5DE4790F-5E78-471D-9DEE-E855B109A50E}" type="parTrans" cxnId="{9B5BE821-5A64-4C65-9BE8-0791AF68E421}">
      <dgm:prSet/>
      <dgm:spPr/>
      <dgm:t>
        <a:bodyPr/>
        <a:lstStyle/>
        <a:p>
          <a:pPr rtl="1"/>
          <a:endParaRPr lang="fa-IR" sz="2000"/>
        </a:p>
      </dgm:t>
    </dgm:pt>
    <dgm:pt modelId="{DD795DD8-E576-4650-96E8-7DA42DB7A12F}" type="sibTrans" cxnId="{9B5BE821-5A64-4C65-9BE8-0791AF68E421}">
      <dgm:prSet/>
      <dgm:spPr/>
      <dgm:t>
        <a:bodyPr/>
        <a:lstStyle/>
        <a:p>
          <a:pPr rtl="1"/>
          <a:endParaRPr lang="fa-IR" sz="2000"/>
        </a:p>
      </dgm:t>
    </dgm:pt>
    <dgm:pt modelId="{C8C0A21A-A1DA-4883-A073-EC4B2FA7CB5B}">
      <dgm:prSet custT="1"/>
      <dgm:spPr/>
      <dgm:t>
        <a:bodyPr/>
        <a:lstStyle/>
        <a:p>
          <a:pPr rtl="1"/>
          <a:r>
            <a:rPr lang="fa-IR" sz="1600" dirty="0" smtClean="0">
              <a:cs typeface="B Titr" panose="00000700000000000000" pitchFamily="2" charset="-78"/>
            </a:rPr>
            <a:t>آمادگی آموزشی</a:t>
          </a:r>
          <a:endParaRPr lang="fa-IR" sz="1600" dirty="0">
            <a:cs typeface="B Titr" panose="00000700000000000000" pitchFamily="2" charset="-78"/>
          </a:endParaRPr>
        </a:p>
      </dgm:t>
    </dgm:pt>
    <dgm:pt modelId="{A8D3378C-E26F-42EE-9B5E-1D523924B9AE}" type="parTrans" cxnId="{961A36B5-E86A-4250-B6E0-E6B68FD9B631}">
      <dgm:prSet/>
      <dgm:spPr/>
      <dgm:t>
        <a:bodyPr/>
        <a:lstStyle/>
        <a:p>
          <a:pPr rtl="1"/>
          <a:endParaRPr lang="fa-IR" sz="2000"/>
        </a:p>
      </dgm:t>
    </dgm:pt>
    <dgm:pt modelId="{B8344D4A-ED21-4F3D-AB61-358410C56992}" type="sibTrans" cxnId="{961A36B5-E86A-4250-B6E0-E6B68FD9B631}">
      <dgm:prSet/>
      <dgm:spPr/>
      <dgm:t>
        <a:bodyPr/>
        <a:lstStyle/>
        <a:p>
          <a:pPr rtl="1"/>
          <a:endParaRPr lang="fa-IR" sz="2000"/>
        </a:p>
      </dgm:t>
    </dgm:pt>
    <dgm:pt modelId="{B9A12108-81C6-4F4E-BE29-CF280800195F}">
      <dgm:prSet custT="1"/>
      <dgm:spPr/>
      <dgm:t>
        <a:bodyPr/>
        <a:lstStyle/>
        <a:p>
          <a:pPr rtl="1"/>
          <a:r>
            <a:rPr lang="fa-IR" sz="1600" dirty="0" smtClean="0">
              <a:cs typeface="B Titr" panose="00000700000000000000" pitchFamily="2" charset="-78"/>
            </a:rPr>
            <a:t>آمادگی کارآفرینی</a:t>
          </a:r>
          <a:endParaRPr lang="fa-IR" sz="1600" dirty="0">
            <a:cs typeface="B Titr" panose="00000700000000000000" pitchFamily="2" charset="-78"/>
          </a:endParaRPr>
        </a:p>
      </dgm:t>
    </dgm:pt>
    <dgm:pt modelId="{58635DB4-AF2A-49AC-A8E1-F8BF57AB8694}" type="parTrans" cxnId="{C395F0C7-0B11-4DCC-A91C-8FF4BA3AA18D}">
      <dgm:prSet/>
      <dgm:spPr/>
      <dgm:t>
        <a:bodyPr/>
        <a:lstStyle/>
        <a:p>
          <a:pPr rtl="1"/>
          <a:endParaRPr lang="fa-IR" sz="2000"/>
        </a:p>
      </dgm:t>
    </dgm:pt>
    <dgm:pt modelId="{FBFEE49D-709B-4924-888A-3277AD89F45B}" type="sibTrans" cxnId="{C395F0C7-0B11-4DCC-A91C-8FF4BA3AA18D}">
      <dgm:prSet/>
      <dgm:spPr/>
      <dgm:t>
        <a:bodyPr/>
        <a:lstStyle/>
        <a:p>
          <a:pPr rtl="1"/>
          <a:endParaRPr lang="fa-IR" sz="2000"/>
        </a:p>
      </dgm:t>
    </dgm:pt>
    <dgm:pt modelId="{FA2D267B-8EB1-4C7E-A22A-637145B7FF53}">
      <dgm:prSet custT="1"/>
      <dgm:spPr/>
      <dgm:t>
        <a:bodyPr/>
        <a:lstStyle/>
        <a:p>
          <a:pPr rtl="1"/>
          <a:r>
            <a:rPr lang="fa-IR" sz="1800" dirty="0" smtClean="0">
              <a:cs typeface="B Titr" panose="00000700000000000000" pitchFamily="2" charset="-78"/>
            </a:rPr>
            <a:t>آمادگی رهبری</a:t>
          </a:r>
          <a:endParaRPr lang="fa-IR" sz="1800" dirty="0">
            <a:cs typeface="B Titr" panose="00000700000000000000" pitchFamily="2" charset="-78"/>
          </a:endParaRPr>
        </a:p>
      </dgm:t>
    </dgm:pt>
    <dgm:pt modelId="{CDC1F23C-6770-4845-840D-4A696B260AAC}" type="parTrans" cxnId="{931C430F-7C8D-4BF5-AD1A-C07C635590E9}">
      <dgm:prSet/>
      <dgm:spPr/>
      <dgm:t>
        <a:bodyPr/>
        <a:lstStyle/>
        <a:p>
          <a:pPr rtl="1"/>
          <a:endParaRPr lang="fa-IR" sz="2000"/>
        </a:p>
      </dgm:t>
    </dgm:pt>
    <dgm:pt modelId="{9DF50796-B288-418D-9203-4A80DB5D09A2}" type="sibTrans" cxnId="{931C430F-7C8D-4BF5-AD1A-C07C635590E9}">
      <dgm:prSet/>
      <dgm:spPr/>
      <dgm:t>
        <a:bodyPr/>
        <a:lstStyle/>
        <a:p>
          <a:pPr rtl="1"/>
          <a:endParaRPr lang="fa-IR" sz="2000"/>
        </a:p>
      </dgm:t>
    </dgm:pt>
    <dgm:pt modelId="{A532E05D-8E0A-4E32-AD8A-A0444C472E7C}">
      <dgm:prSet custT="1"/>
      <dgm:spPr/>
      <dgm:t>
        <a:bodyPr/>
        <a:lstStyle/>
        <a:p>
          <a:pPr rtl="1"/>
          <a:r>
            <a:rPr lang="fa-IR" sz="1400" dirty="0" smtClean="0">
              <a:cs typeface="B Titr" panose="00000700000000000000" pitchFamily="2" charset="-78"/>
            </a:rPr>
            <a:t>آمادگی فرهنگی برای سازمان و کارکنان</a:t>
          </a:r>
          <a:endParaRPr lang="fa-IR" sz="1400" dirty="0">
            <a:cs typeface="B Titr" panose="00000700000000000000" pitchFamily="2" charset="-78"/>
          </a:endParaRPr>
        </a:p>
      </dgm:t>
    </dgm:pt>
    <dgm:pt modelId="{8739BCC5-FF11-4FCB-8CA1-656A943ED4C0}" type="parTrans" cxnId="{8A015D01-127B-4502-A051-722966C5B630}">
      <dgm:prSet/>
      <dgm:spPr/>
      <dgm:t>
        <a:bodyPr/>
        <a:lstStyle/>
        <a:p>
          <a:pPr rtl="1"/>
          <a:endParaRPr lang="fa-IR" sz="2000"/>
        </a:p>
      </dgm:t>
    </dgm:pt>
    <dgm:pt modelId="{9808437B-2ABC-4CD7-82B5-B6333E095993}" type="sibTrans" cxnId="{8A015D01-127B-4502-A051-722966C5B630}">
      <dgm:prSet/>
      <dgm:spPr/>
      <dgm:t>
        <a:bodyPr/>
        <a:lstStyle/>
        <a:p>
          <a:pPr rtl="1"/>
          <a:endParaRPr lang="fa-IR" sz="2000"/>
        </a:p>
      </dgm:t>
    </dgm:pt>
    <dgm:pt modelId="{13C31C45-B4A4-455E-BF62-79D9A571653B}" type="pres">
      <dgm:prSet presAssocID="{ABEAC938-EA8F-4E8D-9F96-14067875EB3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DE10E025-9500-4900-B54A-53982BE3A2DD}" type="pres">
      <dgm:prSet presAssocID="{9A83DB65-E24A-4754-A26A-BAE424E44B0F}" presName="hierRoot1" presStyleCnt="0"/>
      <dgm:spPr/>
    </dgm:pt>
    <dgm:pt modelId="{9A0C9CB7-7D3E-47EF-945A-B977DA253730}" type="pres">
      <dgm:prSet presAssocID="{9A83DB65-E24A-4754-A26A-BAE424E44B0F}" presName="composite" presStyleCnt="0"/>
      <dgm:spPr/>
    </dgm:pt>
    <dgm:pt modelId="{D39D9C4C-BE99-41C4-84AC-8E47C0BFC6DF}" type="pres">
      <dgm:prSet presAssocID="{9A83DB65-E24A-4754-A26A-BAE424E44B0F}" presName="background" presStyleLbl="node0" presStyleIdx="0" presStyleCnt="1"/>
      <dgm:spPr/>
    </dgm:pt>
    <dgm:pt modelId="{26E706D5-AE02-47DC-A0E0-3AA2A745A424}" type="pres">
      <dgm:prSet presAssocID="{9A83DB65-E24A-4754-A26A-BAE424E44B0F}" presName="text" presStyleLbl="fgAcc0" presStyleIdx="0" presStyleCnt="1" custScaleX="30966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C9354D6-D426-4F35-8921-81844A7E389D}" type="pres">
      <dgm:prSet presAssocID="{9A83DB65-E24A-4754-A26A-BAE424E44B0F}" presName="hierChild2" presStyleCnt="0"/>
      <dgm:spPr/>
    </dgm:pt>
    <dgm:pt modelId="{74C4BC7E-CDF1-409E-80D5-C3523B217A41}" type="pres">
      <dgm:prSet presAssocID="{ABF1CC95-0675-4D21-A6B8-1FF625E678B5}" presName="Name10" presStyleLbl="parChTrans1D2" presStyleIdx="0" presStyleCnt="3"/>
      <dgm:spPr/>
      <dgm:t>
        <a:bodyPr/>
        <a:lstStyle/>
        <a:p>
          <a:endParaRPr lang="en-US"/>
        </a:p>
      </dgm:t>
    </dgm:pt>
    <dgm:pt modelId="{99220142-B8A1-4D8A-92AE-BB4DC7D04F7E}" type="pres">
      <dgm:prSet presAssocID="{D47436FB-045F-4FD6-B8B1-1EBF74B05428}" presName="hierRoot2" presStyleCnt="0"/>
      <dgm:spPr/>
    </dgm:pt>
    <dgm:pt modelId="{D135C8CE-1913-46A6-B67F-C09647D5B528}" type="pres">
      <dgm:prSet presAssocID="{D47436FB-045F-4FD6-B8B1-1EBF74B05428}" presName="composite2" presStyleCnt="0"/>
      <dgm:spPr/>
    </dgm:pt>
    <dgm:pt modelId="{81BCC87C-DACD-48B1-8AF3-C1E8E02084EE}" type="pres">
      <dgm:prSet presAssocID="{D47436FB-045F-4FD6-B8B1-1EBF74B05428}" presName="background2" presStyleLbl="node2" presStyleIdx="0" presStyleCnt="3"/>
      <dgm:spPr/>
    </dgm:pt>
    <dgm:pt modelId="{20284520-5964-4F2E-AB0F-0DEA62DE4D94}" type="pres">
      <dgm:prSet presAssocID="{D47436FB-045F-4FD6-B8B1-1EBF74B05428}" presName="text2" presStyleLbl="fgAcc2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4491A75-10D2-4B76-81EE-D9B66A9C09F5}" type="pres">
      <dgm:prSet presAssocID="{D47436FB-045F-4FD6-B8B1-1EBF74B05428}" presName="hierChild3" presStyleCnt="0"/>
      <dgm:spPr/>
    </dgm:pt>
    <dgm:pt modelId="{992F957C-294F-451F-9C32-11AA6AE71E37}" type="pres">
      <dgm:prSet presAssocID="{18793351-D26C-4660-AC91-7A6EAF9A1A9C}" presName="Name17" presStyleLbl="parChTrans1D3" presStyleIdx="0" presStyleCnt="8"/>
      <dgm:spPr/>
      <dgm:t>
        <a:bodyPr/>
        <a:lstStyle/>
        <a:p>
          <a:endParaRPr lang="en-US"/>
        </a:p>
      </dgm:t>
    </dgm:pt>
    <dgm:pt modelId="{D8C7E108-5AC9-4686-9BC5-9B3EB7973096}" type="pres">
      <dgm:prSet presAssocID="{64552997-9722-4EF1-A045-79062EA59041}" presName="hierRoot3" presStyleCnt="0"/>
      <dgm:spPr/>
    </dgm:pt>
    <dgm:pt modelId="{F7167C1E-6BC0-4FA1-9E2F-1033D16AA9F2}" type="pres">
      <dgm:prSet presAssocID="{64552997-9722-4EF1-A045-79062EA59041}" presName="composite3" presStyleCnt="0"/>
      <dgm:spPr/>
    </dgm:pt>
    <dgm:pt modelId="{B3F94C7B-A7E8-4188-8C60-58747A8B1375}" type="pres">
      <dgm:prSet presAssocID="{64552997-9722-4EF1-A045-79062EA59041}" presName="background3" presStyleLbl="node3" presStyleIdx="0" presStyleCnt="8"/>
      <dgm:spPr/>
    </dgm:pt>
    <dgm:pt modelId="{0C242E8B-6F08-4D4E-BD33-14F96CF90498}" type="pres">
      <dgm:prSet presAssocID="{64552997-9722-4EF1-A045-79062EA59041}" presName="text3" presStyleLbl="fgAcc3" presStyleIdx="0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1985416-C521-413F-877E-553FF805E677}" type="pres">
      <dgm:prSet presAssocID="{64552997-9722-4EF1-A045-79062EA59041}" presName="hierChild4" presStyleCnt="0"/>
      <dgm:spPr/>
    </dgm:pt>
    <dgm:pt modelId="{25BCE74D-676D-4B69-B6CF-6FCC6365DC1C}" type="pres">
      <dgm:prSet presAssocID="{F5B65699-3204-4EAA-B706-9B4267523E8F}" presName="Name17" presStyleLbl="parChTrans1D3" presStyleIdx="1" presStyleCnt="8"/>
      <dgm:spPr/>
      <dgm:t>
        <a:bodyPr/>
        <a:lstStyle/>
        <a:p>
          <a:endParaRPr lang="en-US"/>
        </a:p>
      </dgm:t>
    </dgm:pt>
    <dgm:pt modelId="{B7D4AD8D-959B-481F-9A12-790A9ABA5142}" type="pres">
      <dgm:prSet presAssocID="{447A17B0-CE0F-4F80-86A0-8643BE9D76F7}" presName="hierRoot3" presStyleCnt="0"/>
      <dgm:spPr/>
    </dgm:pt>
    <dgm:pt modelId="{CDC3284A-7512-49C8-BC39-C21D6C108308}" type="pres">
      <dgm:prSet presAssocID="{447A17B0-CE0F-4F80-86A0-8643BE9D76F7}" presName="composite3" presStyleCnt="0"/>
      <dgm:spPr/>
    </dgm:pt>
    <dgm:pt modelId="{32C07289-6431-40D0-9A55-FAC274406804}" type="pres">
      <dgm:prSet presAssocID="{447A17B0-CE0F-4F80-86A0-8643BE9D76F7}" presName="background3" presStyleLbl="node3" presStyleIdx="1" presStyleCnt="8"/>
      <dgm:spPr/>
    </dgm:pt>
    <dgm:pt modelId="{DAB8A855-7F32-4851-BC97-E57C037DF814}" type="pres">
      <dgm:prSet presAssocID="{447A17B0-CE0F-4F80-86A0-8643BE9D76F7}" presName="text3" presStyleLbl="fgAcc3" presStyleIdx="1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C0334B3-942E-4545-BB2A-19D0BA663626}" type="pres">
      <dgm:prSet presAssocID="{447A17B0-CE0F-4F80-86A0-8643BE9D76F7}" presName="hierChild4" presStyleCnt="0"/>
      <dgm:spPr/>
    </dgm:pt>
    <dgm:pt modelId="{E68A7120-DA01-4E7C-884A-E3D8EE0F9D70}" type="pres">
      <dgm:prSet presAssocID="{5DE4790F-5E78-471D-9DEE-E855B109A50E}" presName="Name17" presStyleLbl="parChTrans1D3" presStyleIdx="2" presStyleCnt="8"/>
      <dgm:spPr/>
      <dgm:t>
        <a:bodyPr/>
        <a:lstStyle/>
        <a:p>
          <a:endParaRPr lang="en-US"/>
        </a:p>
      </dgm:t>
    </dgm:pt>
    <dgm:pt modelId="{9E7965DC-BC30-4D72-AD69-E6DDB72A988D}" type="pres">
      <dgm:prSet presAssocID="{8CE26280-8612-4C84-8326-9ABB7AD24732}" presName="hierRoot3" presStyleCnt="0"/>
      <dgm:spPr/>
    </dgm:pt>
    <dgm:pt modelId="{6B549F0B-5E5C-4B67-97E6-C02A3373C991}" type="pres">
      <dgm:prSet presAssocID="{8CE26280-8612-4C84-8326-9ABB7AD24732}" presName="composite3" presStyleCnt="0"/>
      <dgm:spPr/>
    </dgm:pt>
    <dgm:pt modelId="{A2FAAA21-CC09-45F8-AB02-954EEDAD7D2D}" type="pres">
      <dgm:prSet presAssocID="{8CE26280-8612-4C84-8326-9ABB7AD24732}" presName="background3" presStyleLbl="node3" presStyleIdx="2" presStyleCnt="8"/>
      <dgm:spPr/>
    </dgm:pt>
    <dgm:pt modelId="{A8C53CB4-E6FD-4EB3-97D7-E0DFC72E779E}" type="pres">
      <dgm:prSet presAssocID="{8CE26280-8612-4C84-8326-9ABB7AD24732}" presName="text3" presStyleLbl="fgAcc3" presStyleIdx="2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28F1D0E-821B-4444-933A-0B7B37819E79}" type="pres">
      <dgm:prSet presAssocID="{8CE26280-8612-4C84-8326-9ABB7AD24732}" presName="hierChild4" presStyleCnt="0"/>
      <dgm:spPr/>
    </dgm:pt>
    <dgm:pt modelId="{78852329-4845-4E08-AED6-A43F1DCC50CD}" type="pres">
      <dgm:prSet presAssocID="{5FB9BB4A-C0C4-43F7-AECE-E3F7AF14E31F}" presName="Name10" presStyleLbl="parChTrans1D2" presStyleIdx="1" presStyleCnt="3"/>
      <dgm:spPr/>
      <dgm:t>
        <a:bodyPr/>
        <a:lstStyle/>
        <a:p>
          <a:endParaRPr lang="en-US"/>
        </a:p>
      </dgm:t>
    </dgm:pt>
    <dgm:pt modelId="{8DEE8F5E-98BC-45AB-879E-0BEB3E921500}" type="pres">
      <dgm:prSet presAssocID="{C3FF6E77-DC14-4292-9092-FAA4DE3C2B73}" presName="hierRoot2" presStyleCnt="0"/>
      <dgm:spPr/>
    </dgm:pt>
    <dgm:pt modelId="{F7C0FA93-D507-4E91-837C-50042B950EB8}" type="pres">
      <dgm:prSet presAssocID="{C3FF6E77-DC14-4292-9092-FAA4DE3C2B73}" presName="composite2" presStyleCnt="0"/>
      <dgm:spPr/>
    </dgm:pt>
    <dgm:pt modelId="{4312C00F-1E39-46EB-B7B8-606C3647F7D4}" type="pres">
      <dgm:prSet presAssocID="{C3FF6E77-DC14-4292-9092-FAA4DE3C2B73}" presName="background2" presStyleLbl="node2" presStyleIdx="1" presStyleCnt="3"/>
      <dgm:spPr/>
    </dgm:pt>
    <dgm:pt modelId="{966A27CF-9031-4D07-9434-CD590A07C207}" type="pres">
      <dgm:prSet presAssocID="{C3FF6E77-DC14-4292-9092-FAA4DE3C2B73}" presName="text2" presStyleLbl="fgAcc2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FAB7DAC-271B-4118-BB0A-67188628B49A}" type="pres">
      <dgm:prSet presAssocID="{C3FF6E77-DC14-4292-9092-FAA4DE3C2B73}" presName="hierChild3" presStyleCnt="0"/>
      <dgm:spPr/>
    </dgm:pt>
    <dgm:pt modelId="{8A17D191-D84C-450E-ACBC-DE8EEFCB0B32}" type="pres">
      <dgm:prSet presAssocID="{346FD4DE-6B82-401A-AAFE-1D591EE9FA3E}" presName="Name17" presStyleLbl="parChTrans1D3" presStyleIdx="3" presStyleCnt="8"/>
      <dgm:spPr/>
      <dgm:t>
        <a:bodyPr/>
        <a:lstStyle/>
        <a:p>
          <a:endParaRPr lang="en-US"/>
        </a:p>
      </dgm:t>
    </dgm:pt>
    <dgm:pt modelId="{602E22B9-BB0A-4C4A-9738-6A33A10996CB}" type="pres">
      <dgm:prSet presAssocID="{E692ADCB-467D-4859-A3DF-6DC2650657DA}" presName="hierRoot3" presStyleCnt="0"/>
      <dgm:spPr/>
    </dgm:pt>
    <dgm:pt modelId="{9451329C-A078-4EAB-AD32-A0E758251018}" type="pres">
      <dgm:prSet presAssocID="{E692ADCB-467D-4859-A3DF-6DC2650657DA}" presName="composite3" presStyleCnt="0"/>
      <dgm:spPr/>
    </dgm:pt>
    <dgm:pt modelId="{96A96E2D-A99F-41E8-92F4-E31043F9211F}" type="pres">
      <dgm:prSet presAssocID="{E692ADCB-467D-4859-A3DF-6DC2650657DA}" presName="background3" presStyleLbl="node3" presStyleIdx="3" presStyleCnt="8"/>
      <dgm:spPr/>
    </dgm:pt>
    <dgm:pt modelId="{C31AD609-3B43-4039-BAD7-03CBF72E61A7}" type="pres">
      <dgm:prSet presAssocID="{E692ADCB-467D-4859-A3DF-6DC2650657DA}" presName="text3" presStyleLbl="fgAcc3" presStyleIdx="3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749B670-3CE9-4EDB-AA9B-7A6AE28DC0F4}" type="pres">
      <dgm:prSet presAssocID="{E692ADCB-467D-4859-A3DF-6DC2650657DA}" presName="hierChild4" presStyleCnt="0"/>
      <dgm:spPr/>
    </dgm:pt>
    <dgm:pt modelId="{1D35C8AF-1BDF-407B-A220-FC3412BEC290}" type="pres">
      <dgm:prSet presAssocID="{A8D3378C-E26F-42EE-9B5E-1D523924B9AE}" presName="Name17" presStyleLbl="parChTrans1D3" presStyleIdx="4" presStyleCnt="8"/>
      <dgm:spPr/>
      <dgm:t>
        <a:bodyPr/>
        <a:lstStyle/>
        <a:p>
          <a:endParaRPr lang="en-US"/>
        </a:p>
      </dgm:t>
    </dgm:pt>
    <dgm:pt modelId="{13CFB64D-AA00-450E-B4CA-F6288D3434CE}" type="pres">
      <dgm:prSet presAssocID="{C8C0A21A-A1DA-4883-A073-EC4B2FA7CB5B}" presName="hierRoot3" presStyleCnt="0"/>
      <dgm:spPr/>
    </dgm:pt>
    <dgm:pt modelId="{9275D898-29BF-46D0-8569-1A52F6911ED6}" type="pres">
      <dgm:prSet presAssocID="{C8C0A21A-A1DA-4883-A073-EC4B2FA7CB5B}" presName="composite3" presStyleCnt="0"/>
      <dgm:spPr/>
    </dgm:pt>
    <dgm:pt modelId="{7F01716B-44B2-47B1-B0F0-5EC1F7B795D8}" type="pres">
      <dgm:prSet presAssocID="{C8C0A21A-A1DA-4883-A073-EC4B2FA7CB5B}" presName="background3" presStyleLbl="node3" presStyleIdx="4" presStyleCnt="8"/>
      <dgm:spPr/>
    </dgm:pt>
    <dgm:pt modelId="{BD8D3BE7-D9D6-43DF-A18A-B1A212C5EF6F}" type="pres">
      <dgm:prSet presAssocID="{C8C0A21A-A1DA-4883-A073-EC4B2FA7CB5B}" presName="text3" presStyleLbl="fgAcc3" presStyleIdx="4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3C3E0F-BBCA-47C1-BFB4-4117C0B47830}" type="pres">
      <dgm:prSet presAssocID="{C8C0A21A-A1DA-4883-A073-EC4B2FA7CB5B}" presName="hierChild4" presStyleCnt="0"/>
      <dgm:spPr/>
    </dgm:pt>
    <dgm:pt modelId="{3F76D925-D0A2-468E-B351-9EBBE6A70F7F}" type="pres">
      <dgm:prSet presAssocID="{7FC891F4-8AAA-4AA7-99B8-B70471685712}" presName="Name10" presStyleLbl="parChTrans1D2" presStyleIdx="2" presStyleCnt="3"/>
      <dgm:spPr/>
      <dgm:t>
        <a:bodyPr/>
        <a:lstStyle/>
        <a:p>
          <a:endParaRPr lang="en-US"/>
        </a:p>
      </dgm:t>
    </dgm:pt>
    <dgm:pt modelId="{166EC0CC-9832-4849-B7A2-A565E3042854}" type="pres">
      <dgm:prSet presAssocID="{591AB739-905D-4A51-8FBF-B5FFC05AA43E}" presName="hierRoot2" presStyleCnt="0"/>
      <dgm:spPr/>
    </dgm:pt>
    <dgm:pt modelId="{59285452-0119-4EC6-8731-290F2A030CBF}" type="pres">
      <dgm:prSet presAssocID="{591AB739-905D-4A51-8FBF-B5FFC05AA43E}" presName="composite2" presStyleCnt="0"/>
      <dgm:spPr/>
    </dgm:pt>
    <dgm:pt modelId="{EC61AB9B-98B5-44F3-9ABF-9038228686A0}" type="pres">
      <dgm:prSet presAssocID="{591AB739-905D-4A51-8FBF-B5FFC05AA43E}" presName="background2" presStyleLbl="node2" presStyleIdx="2" presStyleCnt="3"/>
      <dgm:spPr/>
    </dgm:pt>
    <dgm:pt modelId="{9FA32073-CF6E-4515-B31C-C147CF41CAA1}" type="pres">
      <dgm:prSet presAssocID="{591AB739-905D-4A51-8FBF-B5FFC05AA43E}" presName="text2" presStyleLbl="fgAcc2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E06FA23-2C2B-49E1-A0DF-5100C8C6F24F}" type="pres">
      <dgm:prSet presAssocID="{591AB739-905D-4A51-8FBF-B5FFC05AA43E}" presName="hierChild3" presStyleCnt="0"/>
      <dgm:spPr/>
    </dgm:pt>
    <dgm:pt modelId="{5A702B11-653A-4F70-A638-E8C4D0810E64}" type="pres">
      <dgm:prSet presAssocID="{58635DB4-AF2A-49AC-A8E1-F8BF57AB8694}" presName="Name17" presStyleLbl="parChTrans1D3" presStyleIdx="5" presStyleCnt="8"/>
      <dgm:spPr/>
      <dgm:t>
        <a:bodyPr/>
        <a:lstStyle/>
        <a:p>
          <a:endParaRPr lang="en-US"/>
        </a:p>
      </dgm:t>
    </dgm:pt>
    <dgm:pt modelId="{CE40726D-6A2D-4C1A-B3F6-BE56DA203089}" type="pres">
      <dgm:prSet presAssocID="{B9A12108-81C6-4F4E-BE29-CF280800195F}" presName="hierRoot3" presStyleCnt="0"/>
      <dgm:spPr/>
    </dgm:pt>
    <dgm:pt modelId="{D1C20278-D639-41BA-ABFB-C57E5124AAA8}" type="pres">
      <dgm:prSet presAssocID="{B9A12108-81C6-4F4E-BE29-CF280800195F}" presName="composite3" presStyleCnt="0"/>
      <dgm:spPr/>
    </dgm:pt>
    <dgm:pt modelId="{226A990A-9FE1-4A36-9F30-0247B538EEE6}" type="pres">
      <dgm:prSet presAssocID="{B9A12108-81C6-4F4E-BE29-CF280800195F}" presName="background3" presStyleLbl="node3" presStyleIdx="5" presStyleCnt="8"/>
      <dgm:spPr/>
    </dgm:pt>
    <dgm:pt modelId="{E770B229-CBD3-4D0B-AC88-20E27B212B15}" type="pres">
      <dgm:prSet presAssocID="{B9A12108-81C6-4F4E-BE29-CF280800195F}" presName="text3" presStyleLbl="fgAcc3" presStyleIdx="5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1B8554-4BC1-42C3-B94B-7D93F7EC05B7}" type="pres">
      <dgm:prSet presAssocID="{B9A12108-81C6-4F4E-BE29-CF280800195F}" presName="hierChild4" presStyleCnt="0"/>
      <dgm:spPr/>
    </dgm:pt>
    <dgm:pt modelId="{6E634DD3-6219-4CCD-9474-F0708539E467}" type="pres">
      <dgm:prSet presAssocID="{CDC1F23C-6770-4845-840D-4A696B260AAC}" presName="Name17" presStyleLbl="parChTrans1D3" presStyleIdx="6" presStyleCnt="8"/>
      <dgm:spPr/>
      <dgm:t>
        <a:bodyPr/>
        <a:lstStyle/>
        <a:p>
          <a:endParaRPr lang="en-US"/>
        </a:p>
      </dgm:t>
    </dgm:pt>
    <dgm:pt modelId="{23575C97-B300-4F61-A0B5-6F78B50019E9}" type="pres">
      <dgm:prSet presAssocID="{FA2D267B-8EB1-4C7E-A22A-637145B7FF53}" presName="hierRoot3" presStyleCnt="0"/>
      <dgm:spPr/>
    </dgm:pt>
    <dgm:pt modelId="{20DC9777-35C1-4B9D-99F1-BF92108B0205}" type="pres">
      <dgm:prSet presAssocID="{FA2D267B-8EB1-4C7E-A22A-637145B7FF53}" presName="composite3" presStyleCnt="0"/>
      <dgm:spPr/>
    </dgm:pt>
    <dgm:pt modelId="{7CD2265F-B234-4B38-A43E-6F94081B5B6B}" type="pres">
      <dgm:prSet presAssocID="{FA2D267B-8EB1-4C7E-A22A-637145B7FF53}" presName="background3" presStyleLbl="node3" presStyleIdx="6" presStyleCnt="8"/>
      <dgm:spPr/>
    </dgm:pt>
    <dgm:pt modelId="{C4B72931-7ECD-47E1-A27F-FFA2D2B4B7D0}" type="pres">
      <dgm:prSet presAssocID="{FA2D267B-8EB1-4C7E-A22A-637145B7FF53}" presName="text3" presStyleLbl="fgAcc3" presStyleIdx="6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FE3FC80-26FC-4E7E-8517-9B1E2A38A866}" type="pres">
      <dgm:prSet presAssocID="{FA2D267B-8EB1-4C7E-A22A-637145B7FF53}" presName="hierChild4" presStyleCnt="0"/>
      <dgm:spPr/>
    </dgm:pt>
    <dgm:pt modelId="{AE8ABC0E-2483-4CC6-96AE-AC82565637E7}" type="pres">
      <dgm:prSet presAssocID="{8739BCC5-FF11-4FCB-8CA1-656A943ED4C0}" presName="Name17" presStyleLbl="parChTrans1D3" presStyleIdx="7" presStyleCnt="8"/>
      <dgm:spPr/>
      <dgm:t>
        <a:bodyPr/>
        <a:lstStyle/>
        <a:p>
          <a:endParaRPr lang="en-US"/>
        </a:p>
      </dgm:t>
    </dgm:pt>
    <dgm:pt modelId="{31886C43-8057-4395-B624-B4436FD19A47}" type="pres">
      <dgm:prSet presAssocID="{A532E05D-8E0A-4E32-AD8A-A0444C472E7C}" presName="hierRoot3" presStyleCnt="0"/>
      <dgm:spPr/>
    </dgm:pt>
    <dgm:pt modelId="{30016B6B-9F28-43BC-AF97-EB1E1AE5382F}" type="pres">
      <dgm:prSet presAssocID="{A532E05D-8E0A-4E32-AD8A-A0444C472E7C}" presName="composite3" presStyleCnt="0"/>
      <dgm:spPr/>
    </dgm:pt>
    <dgm:pt modelId="{D3E62B0F-878A-409E-9C23-90BCB580D1EC}" type="pres">
      <dgm:prSet presAssocID="{A532E05D-8E0A-4E32-AD8A-A0444C472E7C}" presName="background3" presStyleLbl="node3" presStyleIdx="7" presStyleCnt="8"/>
      <dgm:spPr/>
    </dgm:pt>
    <dgm:pt modelId="{9F5331F5-4406-44C6-8EBF-281FFDEA5104}" type="pres">
      <dgm:prSet presAssocID="{A532E05D-8E0A-4E32-AD8A-A0444C472E7C}" presName="text3" presStyleLbl="fgAcc3" presStyleIdx="7" presStyleCnt="8">
        <dgm:presLayoutVars>
          <dgm:chPref val="3"/>
        </dgm:presLayoutVars>
      </dgm:prSet>
      <dgm:spPr/>
      <dgm:t>
        <a:bodyPr/>
        <a:lstStyle/>
        <a:p>
          <a:pPr rtl="1"/>
          <a:endParaRPr lang="fa-IR"/>
        </a:p>
      </dgm:t>
    </dgm:pt>
    <dgm:pt modelId="{1B9D5C36-D035-41AD-8737-2EF3E7E9DCED}" type="pres">
      <dgm:prSet presAssocID="{A532E05D-8E0A-4E32-AD8A-A0444C472E7C}" presName="hierChild4" presStyleCnt="0"/>
      <dgm:spPr/>
    </dgm:pt>
  </dgm:ptLst>
  <dgm:cxnLst>
    <dgm:cxn modelId="{D380346B-4038-42B5-94A8-A44FBE17EB19}" type="presOf" srcId="{58635DB4-AF2A-49AC-A8E1-F8BF57AB8694}" destId="{5A702B11-653A-4F70-A638-E8C4D0810E64}" srcOrd="0" destOrd="0" presId="urn:microsoft.com/office/officeart/2005/8/layout/hierarchy1"/>
    <dgm:cxn modelId="{5EA8D591-A6FD-4607-8C26-25DFB858BEF1}" type="presOf" srcId="{A8D3378C-E26F-42EE-9B5E-1D523924B9AE}" destId="{1D35C8AF-1BDF-407B-A220-FC3412BEC290}" srcOrd="0" destOrd="0" presId="urn:microsoft.com/office/officeart/2005/8/layout/hierarchy1"/>
    <dgm:cxn modelId="{AFF86D5F-5D54-4174-9936-C2B2564EF4C4}" type="presOf" srcId="{18793351-D26C-4660-AC91-7A6EAF9A1A9C}" destId="{992F957C-294F-451F-9C32-11AA6AE71E37}" srcOrd="0" destOrd="0" presId="urn:microsoft.com/office/officeart/2005/8/layout/hierarchy1"/>
    <dgm:cxn modelId="{613E49F2-915A-4D01-86DA-CC7336ACD387}" type="presOf" srcId="{A532E05D-8E0A-4E32-AD8A-A0444C472E7C}" destId="{9F5331F5-4406-44C6-8EBF-281FFDEA5104}" srcOrd="0" destOrd="0" presId="urn:microsoft.com/office/officeart/2005/8/layout/hierarchy1"/>
    <dgm:cxn modelId="{A78B5DDD-0C85-4AF5-BE77-597B933C369D}" type="presOf" srcId="{591AB739-905D-4A51-8FBF-B5FFC05AA43E}" destId="{9FA32073-CF6E-4515-B31C-C147CF41CAA1}" srcOrd="0" destOrd="0" presId="urn:microsoft.com/office/officeart/2005/8/layout/hierarchy1"/>
    <dgm:cxn modelId="{69C6B8F7-3A7A-4089-A2DF-2D71F411D520}" type="presOf" srcId="{9A83DB65-E24A-4754-A26A-BAE424E44B0F}" destId="{26E706D5-AE02-47DC-A0E0-3AA2A745A424}" srcOrd="0" destOrd="0" presId="urn:microsoft.com/office/officeart/2005/8/layout/hierarchy1"/>
    <dgm:cxn modelId="{358B44D9-A68A-46AB-A9C8-9F824B2E0420}" type="presOf" srcId="{C3FF6E77-DC14-4292-9092-FAA4DE3C2B73}" destId="{966A27CF-9031-4D07-9434-CD590A07C207}" srcOrd="0" destOrd="0" presId="urn:microsoft.com/office/officeart/2005/8/layout/hierarchy1"/>
    <dgm:cxn modelId="{04AB1619-1ABE-4450-AF4E-B583A157BB6C}" srcId="{9A83DB65-E24A-4754-A26A-BAE424E44B0F}" destId="{591AB739-905D-4A51-8FBF-B5FFC05AA43E}" srcOrd="2" destOrd="0" parTransId="{7FC891F4-8AAA-4AA7-99B8-B70471685712}" sibTransId="{CA4564BB-F9C9-4427-BAC8-64E62CABAB83}"/>
    <dgm:cxn modelId="{71A9557B-27D4-4599-B11A-50064D0C6ED2}" type="presOf" srcId="{C8C0A21A-A1DA-4883-A073-EC4B2FA7CB5B}" destId="{BD8D3BE7-D9D6-43DF-A18A-B1A212C5EF6F}" srcOrd="0" destOrd="0" presId="urn:microsoft.com/office/officeart/2005/8/layout/hierarchy1"/>
    <dgm:cxn modelId="{D2F57AB2-FCD7-45B4-BD2D-A0C1CFF18E6D}" type="presOf" srcId="{5FB9BB4A-C0C4-43F7-AECE-E3F7AF14E31F}" destId="{78852329-4845-4E08-AED6-A43F1DCC50CD}" srcOrd="0" destOrd="0" presId="urn:microsoft.com/office/officeart/2005/8/layout/hierarchy1"/>
    <dgm:cxn modelId="{0A40D250-F6C7-4E98-A3B5-025D0ADA3B98}" type="presOf" srcId="{FA2D267B-8EB1-4C7E-A22A-637145B7FF53}" destId="{C4B72931-7ECD-47E1-A27F-FFA2D2B4B7D0}" srcOrd="0" destOrd="0" presId="urn:microsoft.com/office/officeart/2005/8/layout/hierarchy1"/>
    <dgm:cxn modelId="{9B5BE821-5A64-4C65-9BE8-0791AF68E421}" srcId="{D47436FB-045F-4FD6-B8B1-1EBF74B05428}" destId="{8CE26280-8612-4C84-8326-9ABB7AD24732}" srcOrd="2" destOrd="0" parTransId="{5DE4790F-5E78-471D-9DEE-E855B109A50E}" sibTransId="{DD795DD8-E576-4650-96E8-7DA42DB7A12F}"/>
    <dgm:cxn modelId="{C395F0C7-0B11-4DCC-A91C-8FF4BA3AA18D}" srcId="{591AB739-905D-4A51-8FBF-B5FFC05AA43E}" destId="{B9A12108-81C6-4F4E-BE29-CF280800195F}" srcOrd="0" destOrd="0" parTransId="{58635DB4-AF2A-49AC-A8E1-F8BF57AB8694}" sibTransId="{FBFEE49D-709B-4924-888A-3277AD89F45B}"/>
    <dgm:cxn modelId="{A061876A-BFB8-4DFA-B975-6C42DE936E00}" type="presOf" srcId="{64552997-9722-4EF1-A045-79062EA59041}" destId="{0C242E8B-6F08-4D4E-BD33-14F96CF90498}" srcOrd="0" destOrd="0" presId="urn:microsoft.com/office/officeart/2005/8/layout/hierarchy1"/>
    <dgm:cxn modelId="{A088A791-D00D-492C-BECB-5B798EE9295C}" srcId="{ABEAC938-EA8F-4E8D-9F96-14067875EB35}" destId="{9A83DB65-E24A-4754-A26A-BAE424E44B0F}" srcOrd="0" destOrd="0" parTransId="{A62794A5-2C69-42B7-AD3E-015A96A06330}" sibTransId="{78F33427-A62F-4FD5-9CD2-44E0AB64FD4F}"/>
    <dgm:cxn modelId="{F7CACCD3-E106-4277-90C4-3B10CFB63BDF}" type="presOf" srcId="{CDC1F23C-6770-4845-840D-4A696B260AAC}" destId="{6E634DD3-6219-4CCD-9474-F0708539E467}" srcOrd="0" destOrd="0" presId="urn:microsoft.com/office/officeart/2005/8/layout/hierarchy1"/>
    <dgm:cxn modelId="{931C430F-7C8D-4BF5-AD1A-C07C635590E9}" srcId="{591AB739-905D-4A51-8FBF-B5FFC05AA43E}" destId="{FA2D267B-8EB1-4C7E-A22A-637145B7FF53}" srcOrd="1" destOrd="0" parTransId="{CDC1F23C-6770-4845-840D-4A696B260AAC}" sibTransId="{9DF50796-B288-418D-9203-4A80DB5D09A2}"/>
    <dgm:cxn modelId="{C107BC2D-50BD-4BA4-9FE0-6BB978F10058}" srcId="{C3FF6E77-DC14-4292-9092-FAA4DE3C2B73}" destId="{E692ADCB-467D-4859-A3DF-6DC2650657DA}" srcOrd="0" destOrd="0" parTransId="{346FD4DE-6B82-401A-AAFE-1D591EE9FA3E}" sibTransId="{C4CC9992-5AAD-4D05-A857-4CC83436DA69}"/>
    <dgm:cxn modelId="{F977B163-D118-4EA8-AAE8-2628D4401ED0}" type="presOf" srcId="{447A17B0-CE0F-4F80-86A0-8643BE9D76F7}" destId="{DAB8A855-7F32-4851-BC97-E57C037DF814}" srcOrd="0" destOrd="0" presId="urn:microsoft.com/office/officeart/2005/8/layout/hierarchy1"/>
    <dgm:cxn modelId="{8A015D01-127B-4502-A051-722966C5B630}" srcId="{591AB739-905D-4A51-8FBF-B5FFC05AA43E}" destId="{A532E05D-8E0A-4E32-AD8A-A0444C472E7C}" srcOrd="2" destOrd="0" parTransId="{8739BCC5-FF11-4FCB-8CA1-656A943ED4C0}" sibTransId="{9808437B-2ABC-4CD7-82B5-B6333E095993}"/>
    <dgm:cxn modelId="{EB68A7C5-F004-4F60-88B6-C44FCEC4A466}" type="presOf" srcId="{8CE26280-8612-4C84-8326-9ABB7AD24732}" destId="{A8C53CB4-E6FD-4EB3-97D7-E0DFC72E779E}" srcOrd="0" destOrd="0" presId="urn:microsoft.com/office/officeart/2005/8/layout/hierarchy1"/>
    <dgm:cxn modelId="{18EDA95C-981B-41EB-9C64-4F524667B740}" type="presOf" srcId="{ABF1CC95-0675-4D21-A6B8-1FF625E678B5}" destId="{74C4BC7E-CDF1-409E-80D5-C3523B217A41}" srcOrd="0" destOrd="0" presId="urn:microsoft.com/office/officeart/2005/8/layout/hierarchy1"/>
    <dgm:cxn modelId="{3184C573-6BE4-4F27-9A50-E973F8DA8A61}" srcId="{D47436FB-045F-4FD6-B8B1-1EBF74B05428}" destId="{64552997-9722-4EF1-A045-79062EA59041}" srcOrd="0" destOrd="0" parTransId="{18793351-D26C-4660-AC91-7A6EAF9A1A9C}" sibTransId="{1D47FBC8-9906-4564-9DE5-7E6256891B1E}"/>
    <dgm:cxn modelId="{698B7544-960D-4DD3-9926-6D006295D869}" type="presOf" srcId="{B9A12108-81C6-4F4E-BE29-CF280800195F}" destId="{E770B229-CBD3-4D0B-AC88-20E27B212B15}" srcOrd="0" destOrd="0" presId="urn:microsoft.com/office/officeart/2005/8/layout/hierarchy1"/>
    <dgm:cxn modelId="{546C1D28-E14E-476D-B6CA-928655EFA9B3}" type="presOf" srcId="{E692ADCB-467D-4859-A3DF-6DC2650657DA}" destId="{C31AD609-3B43-4039-BAD7-03CBF72E61A7}" srcOrd="0" destOrd="0" presId="urn:microsoft.com/office/officeart/2005/8/layout/hierarchy1"/>
    <dgm:cxn modelId="{961A36B5-E86A-4250-B6E0-E6B68FD9B631}" srcId="{C3FF6E77-DC14-4292-9092-FAA4DE3C2B73}" destId="{C8C0A21A-A1DA-4883-A073-EC4B2FA7CB5B}" srcOrd="1" destOrd="0" parTransId="{A8D3378C-E26F-42EE-9B5E-1D523924B9AE}" sibTransId="{B8344D4A-ED21-4F3D-AB61-358410C56992}"/>
    <dgm:cxn modelId="{4226DF3B-2135-4221-BC47-10C743D48418}" srcId="{9A83DB65-E24A-4754-A26A-BAE424E44B0F}" destId="{C3FF6E77-DC14-4292-9092-FAA4DE3C2B73}" srcOrd="1" destOrd="0" parTransId="{5FB9BB4A-C0C4-43F7-AECE-E3F7AF14E31F}" sibTransId="{748ACC00-0955-4B4D-8C30-11C277574E7B}"/>
    <dgm:cxn modelId="{F3CE00A2-83DD-4460-9B31-463028793018}" type="presOf" srcId="{7FC891F4-8AAA-4AA7-99B8-B70471685712}" destId="{3F76D925-D0A2-468E-B351-9EBBE6A70F7F}" srcOrd="0" destOrd="0" presId="urn:microsoft.com/office/officeart/2005/8/layout/hierarchy1"/>
    <dgm:cxn modelId="{C8CAE279-5B1D-451D-9D94-7C311E967AC8}" srcId="{D47436FB-045F-4FD6-B8B1-1EBF74B05428}" destId="{447A17B0-CE0F-4F80-86A0-8643BE9D76F7}" srcOrd="1" destOrd="0" parTransId="{F5B65699-3204-4EAA-B706-9B4267523E8F}" sibTransId="{AA72E2A3-2777-4160-9FDD-EBA25A71712F}"/>
    <dgm:cxn modelId="{91B2980A-4B41-4DF9-ACA2-0B4F372358DE}" type="presOf" srcId="{ABEAC938-EA8F-4E8D-9F96-14067875EB35}" destId="{13C31C45-B4A4-455E-BF62-79D9A571653B}" srcOrd="0" destOrd="0" presId="urn:microsoft.com/office/officeart/2005/8/layout/hierarchy1"/>
    <dgm:cxn modelId="{F544FEE9-58C6-4000-93F3-DA91C08F8196}" type="presOf" srcId="{F5B65699-3204-4EAA-B706-9B4267523E8F}" destId="{25BCE74D-676D-4B69-B6CF-6FCC6365DC1C}" srcOrd="0" destOrd="0" presId="urn:microsoft.com/office/officeart/2005/8/layout/hierarchy1"/>
    <dgm:cxn modelId="{4B3E6380-3BCD-4EE4-90CC-90359F5AE2FB}" type="presOf" srcId="{D47436FB-045F-4FD6-B8B1-1EBF74B05428}" destId="{20284520-5964-4F2E-AB0F-0DEA62DE4D94}" srcOrd="0" destOrd="0" presId="urn:microsoft.com/office/officeart/2005/8/layout/hierarchy1"/>
    <dgm:cxn modelId="{D08B1CBB-6A0D-4890-BB54-91E6BDC56201}" type="presOf" srcId="{346FD4DE-6B82-401A-AAFE-1D591EE9FA3E}" destId="{8A17D191-D84C-450E-ACBC-DE8EEFCB0B32}" srcOrd="0" destOrd="0" presId="urn:microsoft.com/office/officeart/2005/8/layout/hierarchy1"/>
    <dgm:cxn modelId="{0416E869-6F62-413B-A797-F3C588A0F669}" type="presOf" srcId="{5DE4790F-5E78-471D-9DEE-E855B109A50E}" destId="{E68A7120-DA01-4E7C-884A-E3D8EE0F9D70}" srcOrd="0" destOrd="0" presId="urn:microsoft.com/office/officeart/2005/8/layout/hierarchy1"/>
    <dgm:cxn modelId="{B62209A5-2C84-436D-91A4-56F13989982A}" srcId="{9A83DB65-E24A-4754-A26A-BAE424E44B0F}" destId="{D47436FB-045F-4FD6-B8B1-1EBF74B05428}" srcOrd="0" destOrd="0" parTransId="{ABF1CC95-0675-4D21-A6B8-1FF625E678B5}" sibTransId="{CA299BA9-E438-4076-AC7E-3C7D86AD2C85}"/>
    <dgm:cxn modelId="{1F74DB09-60CE-4DC7-91D2-0E4674A55FEF}" type="presOf" srcId="{8739BCC5-FF11-4FCB-8CA1-656A943ED4C0}" destId="{AE8ABC0E-2483-4CC6-96AE-AC82565637E7}" srcOrd="0" destOrd="0" presId="urn:microsoft.com/office/officeart/2005/8/layout/hierarchy1"/>
    <dgm:cxn modelId="{E40805AC-61D8-4758-B9EB-CE11816B992A}" type="presParOf" srcId="{13C31C45-B4A4-455E-BF62-79D9A571653B}" destId="{DE10E025-9500-4900-B54A-53982BE3A2DD}" srcOrd="0" destOrd="0" presId="urn:microsoft.com/office/officeart/2005/8/layout/hierarchy1"/>
    <dgm:cxn modelId="{DA547DFB-A0A1-420F-AEC1-9B067A4142C6}" type="presParOf" srcId="{DE10E025-9500-4900-B54A-53982BE3A2DD}" destId="{9A0C9CB7-7D3E-47EF-945A-B977DA253730}" srcOrd="0" destOrd="0" presId="urn:microsoft.com/office/officeart/2005/8/layout/hierarchy1"/>
    <dgm:cxn modelId="{E247C309-EE8A-4133-A734-8A300D7441A6}" type="presParOf" srcId="{9A0C9CB7-7D3E-47EF-945A-B977DA253730}" destId="{D39D9C4C-BE99-41C4-84AC-8E47C0BFC6DF}" srcOrd="0" destOrd="0" presId="urn:microsoft.com/office/officeart/2005/8/layout/hierarchy1"/>
    <dgm:cxn modelId="{C8540C2A-17A9-4A82-A833-131AF9C1ABE8}" type="presParOf" srcId="{9A0C9CB7-7D3E-47EF-945A-B977DA253730}" destId="{26E706D5-AE02-47DC-A0E0-3AA2A745A424}" srcOrd="1" destOrd="0" presId="urn:microsoft.com/office/officeart/2005/8/layout/hierarchy1"/>
    <dgm:cxn modelId="{3C88D12C-759C-4531-8A58-7414D2ABE924}" type="presParOf" srcId="{DE10E025-9500-4900-B54A-53982BE3A2DD}" destId="{EC9354D6-D426-4F35-8921-81844A7E389D}" srcOrd="1" destOrd="0" presId="urn:microsoft.com/office/officeart/2005/8/layout/hierarchy1"/>
    <dgm:cxn modelId="{DFBAA480-2B76-4FB8-8A27-63A90D78DCC3}" type="presParOf" srcId="{EC9354D6-D426-4F35-8921-81844A7E389D}" destId="{74C4BC7E-CDF1-409E-80D5-C3523B217A41}" srcOrd="0" destOrd="0" presId="urn:microsoft.com/office/officeart/2005/8/layout/hierarchy1"/>
    <dgm:cxn modelId="{2123FFF0-C66D-4A64-A37C-F03187859D78}" type="presParOf" srcId="{EC9354D6-D426-4F35-8921-81844A7E389D}" destId="{99220142-B8A1-4D8A-92AE-BB4DC7D04F7E}" srcOrd="1" destOrd="0" presId="urn:microsoft.com/office/officeart/2005/8/layout/hierarchy1"/>
    <dgm:cxn modelId="{EE27D0FA-E49A-4FEE-A347-46318149FB7A}" type="presParOf" srcId="{99220142-B8A1-4D8A-92AE-BB4DC7D04F7E}" destId="{D135C8CE-1913-46A6-B67F-C09647D5B528}" srcOrd="0" destOrd="0" presId="urn:microsoft.com/office/officeart/2005/8/layout/hierarchy1"/>
    <dgm:cxn modelId="{382BB598-72F8-4F0C-B072-73952B284043}" type="presParOf" srcId="{D135C8CE-1913-46A6-B67F-C09647D5B528}" destId="{81BCC87C-DACD-48B1-8AF3-C1E8E02084EE}" srcOrd="0" destOrd="0" presId="urn:microsoft.com/office/officeart/2005/8/layout/hierarchy1"/>
    <dgm:cxn modelId="{ECE53855-9966-4DB5-88AA-EC6400427AAA}" type="presParOf" srcId="{D135C8CE-1913-46A6-B67F-C09647D5B528}" destId="{20284520-5964-4F2E-AB0F-0DEA62DE4D94}" srcOrd="1" destOrd="0" presId="urn:microsoft.com/office/officeart/2005/8/layout/hierarchy1"/>
    <dgm:cxn modelId="{F1AE4A9A-E1D9-40DB-9FF4-6D2B87BC904D}" type="presParOf" srcId="{99220142-B8A1-4D8A-92AE-BB4DC7D04F7E}" destId="{74491A75-10D2-4B76-81EE-D9B66A9C09F5}" srcOrd="1" destOrd="0" presId="urn:microsoft.com/office/officeart/2005/8/layout/hierarchy1"/>
    <dgm:cxn modelId="{5700E665-F3B0-4C27-AC72-B502B74CADBA}" type="presParOf" srcId="{74491A75-10D2-4B76-81EE-D9B66A9C09F5}" destId="{992F957C-294F-451F-9C32-11AA6AE71E37}" srcOrd="0" destOrd="0" presId="urn:microsoft.com/office/officeart/2005/8/layout/hierarchy1"/>
    <dgm:cxn modelId="{2A15BD6C-BCC4-4829-8927-08B996DD0BA7}" type="presParOf" srcId="{74491A75-10D2-4B76-81EE-D9B66A9C09F5}" destId="{D8C7E108-5AC9-4686-9BC5-9B3EB7973096}" srcOrd="1" destOrd="0" presId="urn:microsoft.com/office/officeart/2005/8/layout/hierarchy1"/>
    <dgm:cxn modelId="{ED36E5C3-96E6-42BB-9BD5-2D92133A9855}" type="presParOf" srcId="{D8C7E108-5AC9-4686-9BC5-9B3EB7973096}" destId="{F7167C1E-6BC0-4FA1-9E2F-1033D16AA9F2}" srcOrd="0" destOrd="0" presId="urn:microsoft.com/office/officeart/2005/8/layout/hierarchy1"/>
    <dgm:cxn modelId="{83CCBF07-4764-48B5-A5B8-58B0BD3FE780}" type="presParOf" srcId="{F7167C1E-6BC0-4FA1-9E2F-1033D16AA9F2}" destId="{B3F94C7B-A7E8-4188-8C60-58747A8B1375}" srcOrd="0" destOrd="0" presId="urn:microsoft.com/office/officeart/2005/8/layout/hierarchy1"/>
    <dgm:cxn modelId="{027C6B1B-ECA9-4A29-B6AD-51F4DA20B712}" type="presParOf" srcId="{F7167C1E-6BC0-4FA1-9E2F-1033D16AA9F2}" destId="{0C242E8B-6F08-4D4E-BD33-14F96CF90498}" srcOrd="1" destOrd="0" presId="urn:microsoft.com/office/officeart/2005/8/layout/hierarchy1"/>
    <dgm:cxn modelId="{C554B2A6-E695-44E2-B45C-64A3939118B3}" type="presParOf" srcId="{D8C7E108-5AC9-4686-9BC5-9B3EB7973096}" destId="{71985416-C521-413F-877E-553FF805E677}" srcOrd="1" destOrd="0" presId="urn:microsoft.com/office/officeart/2005/8/layout/hierarchy1"/>
    <dgm:cxn modelId="{CCFCD34C-182B-4301-A1A9-4E01DB2D1C70}" type="presParOf" srcId="{74491A75-10D2-4B76-81EE-D9B66A9C09F5}" destId="{25BCE74D-676D-4B69-B6CF-6FCC6365DC1C}" srcOrd="2" destOrd="0" presId="urn:microsoft.com/office/officeart/2005/8/layout/hierarchy1"/>
    <dgm:cxn modelId="{A2B3A736-078E-4030-9852-4B92ED2C9802}" type="presParOf" srcId="{74491A75-10D2-4B76-81EE-D9B66A9C09F5}" destId="{B7D4AD8D-959B-481F-9A12-790A9ABA5142}" srcOrd="3" destOrd="0" presId="urn:microsoft.com/office/officeart/2005/8/layout/hierarchy1"/>
    <dgm:cxn modelId="{DDF0ADFC-C6D7-40AE-9921-0CBF04D85AE5}" type="presParOf" srcId="{B7D4AD8D-959B-481F-9A12-790A9ABA5142}" destId="{CDC3284A-7512-49C8-BC39-C21D6C108308}" srcOrd="0" destOrd="0" presId="urn:microsoft.com/office/officeart/2005/8/layout/hierarchy1"/>
    <dgm:cxn modelId="{FB015751-DF9D-4950-978F-E89F2424D158}" type="presParOf" srcId="{CDC3284A-7512-49C8-BC39-C21D6C108308}" destId="{32C07289-6431-40D0-9A55-FAC274406804}" srcOrd="0" destOrd="0" presId="urn:microsoft.com/office/officeart/2005/8/layout/hierarchy1"/>
    <dgm:cxn modelId="{7D23FCEA-9BDE-48A4-997E-F5B36396BEBA}" type="presParOf" srcId="{CDC3284A-7512-49C8-BC39-C21D6C108308}" destId="{DAB8A855-7F32-4851-BC97-E57C037DF814}" srcOrd="1" destOrd="0" presId="urn:microsoft.com/office/officeart/2005/8/layout/hierarchy1"/>
    <dgm:cxn modelId="{5444EAE2-0AD5-4340-886D-A0F01D31C7CB}" type="presParOf" srcId="{B7D4AD8D-959B-481F-9A12-790A9ABA5142}" destId="{7C0334B3-942E-4545-BB2A-19D0BA663626}" srcOrd="1" destOrd="0" presId="urn:microsoft.com/office/officeart/2005/8/layout/hierarchy1"/>
    <dgm:cxn modelId="{6BF5110B-E371-413A-9840-4FD8418CA5E0}" type="presParOf" srcId="{74491A75-10D2-4B76-81EE-D9B66A9C09F5}" destId="{E68A7120-DA01-4E7C-884A-E3D8EE0F9D70}" srcOrd="4" destOrd="0" presId="urn:microsoft.com/office/officeart/2005/8/layout/hierarchy1"/>
    <dgm:cxn modelId="{A7AF2608-B4EB-4607-A6FD-533802325AEF}" type="presParOf" srcId="{74491A75-10D2-4B76-81EE-D9B66A9C09F5}" destId="{9E7965DC-BC30-4D72-AD69-E6DDB72A988D}" srcOrd="5" destOrd="0" presId="urn:microsoft.com/office/officeart/2005/8/layout/hierarchy1"/>
    <dgm:cxn modelId="{B807E0DE-CC12-48C2-90DD-0B31BCA826AC}" type="presParOf" srcId="{9E7965DC-BC30-4D72-AD69-E6DDB72A988D}" destId="{6B549F0B-5E5C-4B67-97E6-C02A3373C991}" srcOrd="0" destOrd="0" presId="urn:microsoft.com/office/officeart/2005/8/layout/hierarchy1"/>
    <dgm:cxn modelId="{9E936299-DEA4-4D5B-95CE-E9BDD6E1A419}" type="presParOf" srcId="{6B549F0B-5E5C-4B67-97E6-C02A3373C991}" destId="{A2FAAA21-CC09-45F8-AB02-954EEDAD7D2D}" srcOrd="0" destOrd="0" presId="urn:microsoft.com/office/officeart/2005/8/layout/hierarchy1"/>
    <dgm:cxn modelId="{E8867C7B-5707-49E2-9750-539A0B4C051F}" type="presParOf" srcId="{6B549F0B-5E5C-4B67-97E6-C02A3373C991}" destId="{A8C53CB4-E6FD-4EB3-97D7-E0DFC72E779E}" srcOrd="1" destOrd="0" presId="urn:microsoft.com/office/officeart/2005/8/layout/hierarchy1"/>
    <dgm:cxn modelId="{6D4626F8-CECF-458E-8493-7A6C8A5132E8}" type="presParOf" srcId="{9E7965DC-BC30-4D72-AD69-E6DDB72A988D}" destId="{028F1D0E-821B-4444-933A-0B7B37819E79}" srcOrd="1" destOrd="0" presId="urn:microsoft.com/office/officeart/2005/8/layout/hierarchy1"/>
    <dgm:cxn modelId="{42BBA982-7072-4EAB-9560-3AEE0F22F10E}" type="presParOf" srcId="{EC9354D6-D426-4F35-8921-81844A7E389D}" destId="{78852329-4845-4E08-AED6-A43F1DCC50CD}" srcOrd="2" destOrd="0" presId="urn:microsoft.com/office/officeart/2005/8/layout/hierarchy1"/>
    <dgm:cxn modelId="{750DA902-5559-442E-A964-654E30660F5F}" type="presParOf" srcId="{EC9354D6-D426-4F35-8921-81844A7E389D}" destId="{8DEE8F5E-98BC-45AB-879E-0BEB3E921500}" srcOrd="3" destOrd="0" presId="urn:microsoft.com/office/officeart/2005/8/layout/hierarchy1"/>
    <dgm:cxn modelId="{EE7BFFCB-E0C6-4466-A9F8-390291E10F45}" type="presParOf" srcId="{8DEE8F5E-98BC-45AB-879E-0BEB3E921500}" destId="{F7C0FA93-D507-4E91-837C-50042B950EB8}" srcOrd="0" destOrd="0" presId="urn:microsoft.com/office/officeart/2005/8/layout/hierarchy1"/>
    <dgm:cxn modelId="{56A47393-C7FF-4407-90E6-63CAA1015441}" type="presParOf" srcId="{F7C0FA93-D507-4E91-837C-50042B950EB8}" destId="{4312C00F-1E39-46EB-B7B8-606C3647F7D4}" srcOrd="0" destOrd="0" presId="urn:microsoft.com/office/officeart/2005/8/layout/hierarchy1"/>
    <dgm:cxn modelId="{F3E3B5D2-8196-4CE0-8D2C-D4480D64FE5D}" type="presParOf" srcId="{F7C0FA93-D507-4E91-837C-50042B950EB8}" destId="{966A27CF-9031-4D07-9434-CD590A07C207}" srcOrd="1" destOrd="0" presId="urn:microsoft.com/office/officeart/2005/8/layout/hierarchy1"/>
    <dgm:cxn modelId="{494DFB94-7134-4F9A-8908-E11DCE45BE81}" type="presParOf" srcId="{8DEE8F5E-98BC-45AB-879E-0BEB3E921500}" destId="{2FAB7DAC-271B-4118-BB0A-67188628B49A}" srcOrd="1" destOrd="0" presId="urn:microsoft.com/office/officeart/2005/8/layout/hierarchy1"/>
    <dgm:cxn modelId="{1D52F745-3207-48DB-9586-01259D6CDC81}" type="presParOf" srcId="{2FAB7DAC-271B-4118-BB0A-67188628B49A}" destId="{8A17D191-D84C-450E-ACBC-DE8EEFCB0B32}" srcOrd="0" destOrd="0" presId="urn:microsoft.com/office/officeart/2005/8/layout/hierarchy1"/>
    <dgm:cxn modelId="{04EBCCAA-F156-44DE-B7AC-73FC5872915A}" type="presParOf" srcId="{2FAB7DAC-271B-4118-BB0A-67188628B49A}" destId="{602E22B9-BB0A-4C4A-9738-6A33A10996CB}" srcOrd="1" destOrd="0" presId="urn:microsoft.com/office/officeart/2005/8/layout/hierarchy1"/>
    <dgm:cxn modelId="{4623569F-A1C9-4C18-A03D-5ACA69FFC004}" type="presParOf" srcId="{602E22B9-BB0A-4C4A-9738-6A33A10996CB}" destId="{9451329C-A078-4EAB-AD32-A0E758251018}" srcOrd="0" destOrd="0" presId="urn:microsoft.com/office/officeart/2005/8/layout/hierarchy1"/>
    <dgm:cxn modelId="{D7F41312-B96B-4F5E-BF5D-6E8A94F89921}" type="presParOf" srcId="{9451329C-A078-4EAB-AD32-A0E758251018}" destId="{96A96E2D-A99F-41E8-92F4-E31043F9211F}" srcOrd="0" destOrd="0" presId="urn:microsoft.com/office/officeart/2005/8/layout/hierarchy1"/>
    <dgm:cxn modelId="{018DFFC0-FBA6-41D8-B81A-E2A9B48764C2}" type="presParOf" srcId="{9451329C-A078-4EAB-AD32-A0E758251018}" destId="{C31AD609-3B43-4039-BAD7-03CBF72E61A7}" srcOrd="1" destOrd="0" presId="urn:microsoft.com/office/officeart/2005/8/layout/hierarchy1"/>
    <dgm:cxn modelId="{E3FA9EDD-6338-4FD9-B878-632F715F7979}" type="presParOf" srcId="{602E22B9-BB0A-4C4A-9738-6A33A10996CB}" destId="{6749B670-3CE9-4EDB-AA9B-7A6AE28DC0F4}" srcOrd="1" destOrd="0" presId="urn:microsoft.com/office/officeart/2005/8/layout/hierarchy1"/>
    <dgm:cxn modelId="{F8EC3EBB-8100-404F-8678-4126BB08A69E}" type="presParOf" srcId="{2FAB7DAC-271B-4118-BB0A-67188628B49A}" destId="{1D35C8AF-1BDF-407B-A220-FC3412BEC290}" srcOrd="2" destOrd="0" presId="urn:microsoft.com/office/officeart/2005/8/layout/hierarchy1"/>
    <dgm:cxn modelId="{34DE2108-117F-4C40-A778-5EEC27677FF6}" type="presParOf" srcId="{2FAB7DAC-271B-4118-BB0A-67188628B49A}" destId="{13CFB64D-AA00-450E-B4CA-F6288D3434CE}" srcOrd="3" destOrd="0" presId="urn:microsoft.com/office/officeart/2005/8/layout/hierarchy1"/>
    <dgm:cxn modelId="{01529494-3D6F-428A-90D8-D8209BA590FE}" type="presParOf" srcId="{13CFB64D-AA00-450E-B4CA-F6288D3434CE}" destId="{9275D898-29BF-46D0-8569-1A52F6911ED6}" srcOrd="0" destOrd="0" presId="urn:microsoft.com/office/officeart/2005/8/layout/hierarchy1"/>
    <dgm:cxn modelId="{4AD6C7FC-8951-40BD-AD5F-2BF432AC6FC5}" type="presParOf" srcId="{9275D898-29BF-46D0-8569-1A52F6911ED6}" destId="{7F01716B-44B2-47B1-B0F0-5EC1F7B795D8}" srcOrd="0" destOrd="0" presId="urn:microsoft.com/office/officeart/2005/8/layout/hierarchy1"/>
    <dgm:cxn modelId="{81AB3A38-4A60-463E-BDFB-21E119DA965A}" type="presParOf" srcId="{9275D898-29BF-46D0-8569-1A52F6911ED6}" destId="{BD8D3BE7-D9D6-43DF-A18A-B1A212C5EF6F}" srcOrd="1" destOrd="0" presId="urn:microsoft.com/office/officeart/2005/8/layout/hierarchy1"/>
    <dgm:cxn modelId="{FEFE2F95-EFE6-41AC-A34E-13D1D2D8E869}" type="presParOf" srcId="{13CFB64D-AA00-450E-B4CA-F6288D3434CE}" destId="{453C3E0F-BBCA-47C1-BFB4-4117C0B47830}" srcOrd="1" destOrd="0" presId="urn:microsoft.com/office/officeart/2005/8/layout/hierarchy1"/>
    <dgm:cxn modelId="{8A024440-F4F8-4D79-8D62-C47C8B49A883}" type="presParOf" srcId="{EC9354D6-D426-4F35-8921-81844A7E389D}" destId="{3F76D925-D0A2-468E-B351-9EBBE6A70F7F}" srcOrd="4" destOrd="0" presId="urn:microsoft.com/office/officeart/2005/8/layout/hierarchy1"/>
    <dgm:cxn modelId="{45961834-9F21-49A0-B238-3B0CBBA5E325}" type="presParOf" srcId="{EC9354D6-D426-4F35-8921-81844A7E389D}" destId="{166EC0CC-9832-4849-B7A2-A565E3042854}" srcOrd="5" destOrd="0" presId="urn:microsoft.com/office/officeart/2005/8/layout/hierarchy1"/>
    <dgm:cxn modelId="{94FBAC92-B153-4833-B5E6-CC30E4C7F4C4}" type="presParOf" srcId="{166EC0CC-9832-4849-B7A2-A565E3042854}" destId="{59285452-0119-4EC6-8731-290F2A030CBF}" srcOrd="0" destOrd="0" presId="urn:microsoft.com/office/officeart/2005/8/layout/hierarchy1"/>
    <dgm:cxn modelId="{BA813A02-62E0-48F5-928A-A02AC99C51BC}" type="presParOf" srcId="{59285452-0119-4EC6-8731-290F2A030CBF}" destId="{EC61AB9B-98B5-44F3-9ABF-9038228686A0}" srcOrd="0" destOrd="0" presId="urn:microsoft.com/office/officeart/2005/8/layout/hierarchy1"/>
    <dgm:cxn modelId="{042A0646-78E4-4B71-92FF-14774BB93C53}" type="presParOf" srcId="{59285452-0119-4EC6-8731-290F2A030CBF}" destId="{9FA32073-CF6E-4515-B31C-C147CF41CAA1}" srcOrd="1" destOrd="0" presId="urn:microsoft.com/office/officeart/2005/8/layout/hierarchy1"/>
    <dgm:cxn modelId="{2E160A3A-3B70-45B0-BE85-87C1249E4881}" type="presParOf" srcId="{166EC0CC-9832-4849-B7A2-A565E3042854}" destId="{4E06FA23-2C2B-49E1-A0DF-5100C8C6F24F}" srcOrd="1" destOrd="0" presId="urn:microsoft.com/office/officeart/2005/8/layout/hierarchy1"/>
    <dgm:cxn modelId="{A7E0BEA6-53F2-469E-9961-9E2759EAE76C}" type="presParOf" srcId="{4E06FA23-2C2B-49E1-A0DF-5100C8C6F24F}" destId="{5A702B11-653A-4F70-A638-E8C4D0810E64}" srcOrd="0" destOrd="0" presId="urn:microsoft.com/office/officeart/2005/8/layout/hierarchy1"/>
    <dgm:cxn modelId="{12352576-B0B3-44C2-909F-8FF7DBBEF207}" type="presParOf" srcId="{4E06FA23-2C2B-49E1-A0DF-5100C8C6F24F}" destId="{CE40726D-6A2D-4C1A-B3F6-BE56DA203089}" srcOrd="1" destOrd="0" presId="urn:microsoft.com/office/officeart/2005/8/layout/hierarchy1"/>
    <dgm:cxn modelId="{33505724-9A76-4AE1-BC66-08B706717956}" type="presParOf" srcId="{CE40726D-6A2D-4C1A-B3F6-BE56DA203089}" destId="{D1C20278-D639-41BA-ABFB-C57E5124AAA8}" srcOrd="0" destOrd="0" presId="urn:microsoft.com/office/officeart/2005/8/layout/hierarchy1"/>
    <dgm:cxn modelId="{56C1B75F-9A71-46F3-A66E-C5A098BB9C00}" type="presParOf" srcId="{D1C20278-D639-41BA-ABFB-C57E5124AAA8}" destId="{226A990A-9FE1-4A36-9F30-0247B538EEE6}" srcOrd="0" destOrd="0" presId="urn:microsoft.com/office/officeart/2005/8/layout/hierarchy1"/>
    <dgm:cxn modelId="{CDC86CE3-85E0-4DB4-8802-E8BC622E946A}" type="presParOf" srcId="{D1C20278-D639-41BA-ABFB-C57E5124AAA8}" destId="{E770B229-CBD3-4D0B-AC88-20E27B212B15}" srcOrd="1" destOrd="0" presId="urn:microsoft.com/office/officeart/2005/8/layout/hierarchy1"/>
    <dgm:cxn modelId="{50FE5071-73EA-4F43-B8F3-8420672843C9}" type="presParOf" srcId="{CE40726D-6A2D-4C1A-B3F6-BE56DA203089}" destId="{201B8554-4BC1-42C3-B94B-7D93F7EC05B7}" srcOrd="1" destOrd="0" presId="urn:microsoft.com/office/officeart/2005/8/layout/hierarchy1"/>
    <dgm:cxn modelId="{0FA754BA-89EE-406D-AE79-107598D3A28A}" type="presParOf" srcId="{4E06FA23-2C2B-49E1-A0DF-5100C8C6F24F}" destId="{6E634DD3-6219-4CCD-9474-F0708539E467}" srcOrd="2" destOrd="0" presId="urn:microsoft.com/office/officeart/2005/8/layout/hierarchy1"/>
    <dgm:cxn modelId="{48D7223D-26EC-405E-B3E9-63BC5D7DCF55}" type="presParOf" srcId="{4E06FA23-2C2B-49E1-A0DF-5100C8C6F24F}" destId="{23575C97-B300-4F61-A0B5-6F78B50019E9}" srcOrd="3" destOrd="0" presId="urn:microsoft.com/office/officeart/2005/8/layout/hierarchy1"/>
    <dgm:cxn modelId="{DE225877-1E8F-4199-AB74-509E145A7986}" type="presParOf" srcId="{23575C97-B300-4F61-A0B5-6F78B50019E9}" destId="{20DC9777-35C1-4B9D-99F1-BF92108B0205}" srcOrd="0" destOrd="0" presId="urn:microsoft.com/office/officeart/2005/8/layout/hierarchy1"/>
    <dgm:cxn modelId="{76776314-ED68-4BB3-9ADC-005283CDCB61}" type="presParOf" srcId="{20DC9777-35C1-4B9D-99F1-BF92108B0205}" destId="{7CD2265F-B234-4B38-A43E-6F94081B5B6B}" srcOrd="0" destOrd="0" presId="urn:microsoft.com/office/officeart/2005/8/layout/hierarchy1"/>
    <dgm:cxn modelId="{A8B83ADC-E3B4-44F2-BEFA-FFEBC7B6E6EB}" type="presParOf" srcId="{20DC9777-35C1-4B9D-99F1-BF92108B0205}" destId="{C4B72931-7ECD-47E1-A27F-FFA2D2B4B7D0}" srcOrd="1" destOrd="0" presId="urn:microsoft.com/office/officeart/2005/8/layout/hierarchy1"/>
    <dgm:cxn modelId="{BB3CCD7B-A546-4C71-9472-B6E2885414AC}" type="presParOf" srcId="{23575C97-B300-4F61-A0B5-6F78B50019E9}" destId="{9FE3FC80-26FC-4E7E-8517-9B1E2A38A866}" srcOrd="1" destOrd="0" presId="urn:microsoft.com/office/officeart/2005/8/layout/hierarchy1"/>
    <dgm:cxn modelId="{10A67548-A8C0-4BFA-9A49-BA0A1FC1DD0A}" type="presParOf" srcId="{4E06FA23-2C2B-49E1-A0DF-5100C8C6F24F}" destId="{AE8ABC0E-2483-4CC6-96AE-AC82565637E7}" srcOrd="4" destOrd="0" presId="urn:microsoft.com/office/officeart/2005/8/layout/hierarchy1"/>
    <dgm:cxn modelId="{A9A31B4F-DEDE-4E2B-97B8-5AC4D4FDAA0B}" type="presParOf" srcId="{4E06FA23-2C2B-49E1-A0DF-5100C8C6F24F}" destId="{31886C43-8057-4395-B624-B4436FD19A47}" srcOrd="5" destOrd="0" presId="urn:microsoft.com/office/officeart/2005/8/layout/hierarchy1"/>
    <dgm:cxn modelId="{AFE653CB-8380-4ACE-92ED-A174492AD3F9}" type="presParOf" srcId="{31886C43-8057-4395-B624-B4436FD19A47}" destId="{30016B6B-9F28-43BC-AF97-EB1E1AE5382F}" srcOrd="0" destOrd="0" presId="urn:microsoft.com/office/officeart/2005/8/layout/hierarchy1"/>
    <dgm:cxn modelId="{8FFD38A8-9C1D-4404-89CB-E7A9F8C5EFB9}" type="presParOf" srcId="{30016B6B-9F28-43BC-AF97-EB1E1AE5382F}" destId="{D3E62B0F-878A-409E-9C23-90BCB580D1EC}" srcOrd="0" destOrd="0" presId="urn:microsoft.com/office/officeart/2005/8/layout/hierarchy1"/>
    <dgm:cxn modelId="{9A29191F-5740-4093-A46C-3098474A90F0}" type="presParOf" srcId="{30016B6B-9F28-43BC-AF97-EB1E1AE5382F}" destId="{9F5331F5-4406-44C6-8EBF-281FFDEA5104}" srcOrd="1" destOrd="0" presId="urn:microsoft.com/office/officeart/2005/8/layout/hierarchy1"/>
    <dgm:cxn modelId="{8DADC3C1-E9B8-407F-BD89-742469F977E1}" type="presParOf" srcId="{31886C43-8057-4395-B624-B4436FD19A47}" destId="{1B9D5C36-D035-41AD-8737-2EF3E7E9DCED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ACB277-2F2A-43DD-A8B6-D475C59DF3E3}">
      <dsp:nvSpPr>
        <dsp:cNvPr id="0" name=""/>
        <dsp:cNvSpPr/>
      </dsp:nvSpPr>
      <dsp:spPr>
        <a:xfrm flipV="1">
          <a:off x="4" y="521003"/>
          <a:ext cx="9252515" cy="2789336"/>
        </a:xfrm>
        <a:prstGeom prst="lef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FCA9A8-87DF-4D73-BF61-C89EABAEEB83}">
      <dsp:nvSpPr>
        <dsp:cNvPr id="0" name=""/>
        <dsp:cNvSpPr/>
      </dsp:nvSpPr>
      <dsp:spPr>
        <a:xfrm>
          <a:off x="6577800" y="790827"/>
          <a:ext cx="2450989" cy="2145318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solidFill>
                <a:srgbClr val="FFC000"/>
              </a:solidFill>
              <a:latin typeface="Franklin Gothic Book"/>
              <a:ea typeface="+mn-ea"/>
              <a:cs typeface="B Titr" panose="00000700000000000000" pitchFamily="2" charset="-78"/>
            </a:rPr>
            <a:t>يادگيري مستقل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600" kern="1200" dirty="0" smtClean="0">
              <a:latin typeface="Franklin Gothic Book"/>
              <a:ea typeface="+mn-ea"/>
              <a:cs typeface="B Titr" panose="00000700000000000000" pitchFamily="2" charset="-78"/>
            </a:rPr>
            <a:t>به معناي ناوابسته بودن به زمان، مکان و سرعت پيشرفت يادگيرنده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600" kern="1200" dirty="0" smtClean="0">
              <a:latin typeface="Franklin Gothic Book"/>
              <a:ea typeface="+mn-ea"/>
              <a:cs typeface="B Titr" panose="00000700000000000000" pitchFamily="2" charset="-78"/>
            </a:rPr>
            <a:t>(انطباق با تقويم شخصي)</a:t>
          </a:r>
          <a:endParaRPr lang="en-US" sz="1400" kern="1200" dirty="0">
            <a:latin typeface="Franklin Gothic Book"/>
            <a:ea typeface="+mn-ea"/>
            <a:cs typeface="B Titr" panose="00000700000000000000" pitchFamily="2" charset="-78"/>
          </a:endParaRPr>
        </a:p>
      </dsp:txBody>
      <dsp:txXfrm>
        <a:off x="6682526" y="895553"/>
        <a:ext cx="2241537" cy="1935866"/>
      </dsp:txXfrm>
    </dsp:sp>
    <dsp:sp modelId="{1BBE8BBB-42CC-4676-87B9-34C67D025817}">
      <dsp:nvSpPr>
        <dsp:cNvPr id="0" name=""/>
        <dsp:cNvSpPr/>
      </dsp:nvSpPr>
      <dsp:spPr>
        <a:xfrm>
          <a:off x="3631925" y="802556"/>
          <a:ext cx="2660799" cy="2121860"/>
        </a:xfrm>
        <a:prstGeom prst="roundRect">
          <a:avLst/>
        </a:prstGeom>
        <a:solidFill>
          <a:schemeClr val="accent2">
            <a:hueOff val="1620045"/>
            <a:satOff val="225"/>
            <a:lumOff val="196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solidFill>
                <a:srgbClr val="C00000"/>
              </a:solidFill>
              <a:latin typeface="Franklin Gothic Book"/>
              <a:ea typeface="+mn-ea"/>
              <a:cs typeface="B Titr" panose="00000700000000000000" pitchFamily="2" charset="-78"/>
            </a:rPr>
            <a:t>يادگيري منعطف</a:t>
          </a:r>
          <a:endParaRPr lang="fa-IR" sz="2400" kern="1200" dirty="0" smtClean="0">
            <a:solidFill>
              <a:srgbClr val="C00000"/>
            </a:solidFill>
            <a:latin typeface="Franklin Gothic Book"/>
            <a:ea typeface="+mn-ea"/>
            <a:cs typeface="B Titr" panose="00000700000000000000" pitchFamily="2" charset="-78"/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600" kern="1200" dirty="0" smtClean="0">
              <a:latin typeface="Franklin Gothic Book"/>
              <a:ea typeface="+mn-ea"/>
              <a:cs typeface="B Titr" panose="00000700000000000000" pitchFamily="2" charset="-78"/>
            </a:rPr>
            <a:t>يعني رعايت حق انتخاب يادگيرنده با توجه به استعداد و دانش پيشين وي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600" kern="1200" dirty="0" smtClean="0">
              <a:latin typeface="Franklin Gothic Book"/>
              <a:ea typeface="+mn-ea"/>
              <a:cs typeface="B Titr" panose="00000700000000000000" pitchFamily="2" charset="-78"/>
            </a:rPr>
            <a:t>(انطباق با تقويم رشدي)</a:t>
          </a:r>
          <a:endParaRPr lang="en-US" sz="1600" kern="1200" dirty="0">
            <a:latin typeface="Franklin Gothic Book"/>
            <a:ea typeface="+mn-ea"/>
            <a:cs typeface="B Titr" panose="00000700000000000000" pitchFamily="2" charset="-78"/>
          </a:endParaRPr>
        </a:p>
      </dsp:txBody>
      <dsp:txXfrm>
        <a:off x="3735506" y="906137"/>
        <a:ext cx="2453637" cy="1914698"/>
      </dsp:txXfrm>
    </dsp:sp>
    <dsp:sp modelId="{23716AA1-9785-400E-AA92-57C4EF8EC4A8}">
      <dsp:nvSpPr>
        <dsp:cNvPr id="0" name=""/>
        <dsp:cNvSpPr/>
      </dsp:nvSpPr>
      <dsp:spPr>
        <a:xfrm>
          <a:off x="223730" y="846653"/>
          <a:ext cx="3123120" cy="2033666"/>
        </a:xfrm>
        <a:prstGeom prst="roundRect">
          <a:avLst/>
        </a:prstGeom>
        <a:solidFill>
          <a:schemeClr val="accent2">
            <a:hueOff val="3240090"/>
            <a:satOff val="451"/>
            <a:lumOff val="392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solidFill>
                <a:srgbClr val="7030A0"/>
              </a:solidFill>
              <a:latin typeface="Franklin Gothic Book"/>
              <a:ea typeface="+mn-ea"/>
              <a:cs typeface="B Titr" panose="00000700000000000000" pitchFamily="2" charset="-78"/>
            </a:rPr>
            <a:t>يادگيري توزيع شده</a:t>
          </a:r>
          <a:endParaRPr lang="fa-IR" sz="2400" kern="1200" dirty="0" smtClean="0">
            <a:solidFill>
              <a:srgbClr val="7030A0"/>
            </a:solidFill>
            <a:latin typeface="Franklin Gothic Book"/>
            <a:ea typeface="+mn-ea"/>
            <a:cs typeface="B Titr" panose="00000700000000000000" pitchFamily="2" charset="-78"/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600" kern="1200" dirty="0" smtClean="0">
              <a:latin typeface="Franklin Gothic Book"/>
              <a:ea typeface="+mn-ea"/>
              <a:cs typeface="B Titr" panose="00000700000000000000" pitchFamily="2" charset="-78"/>
            </a:rPr>
            <a:t>به معناي حضور يادگيرنده، ياددهنده و محتوا در مکان هاي مختلف و غيرمتمرکز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600" kern="1200" dirty="0" smtClean="0">
              <a:latin typeface="Franklin Gothic Book"/>
              <a:ea typeface="+mn-ea"/>
              <a:cs typeface="B Titr" panose="00000700000000000000" pitchFamily="2" charset="-78"/>
            </a:rPr>
            <a:t>(انطباق با نظام شبکه اي)</a:t>
          </a:r>
          <a:endParaRPr lang="en-US" sz="1600" kern="1200" dirty="0">
            <a:latin typeface="Franklin Gothic Book"/>
            <a:ea typeface="+mn-ea"/>
            <a:cs typeface="B Titr" panose="00000700000000000000" pitchFamily="2" charset="-78"/>
          </a:endParaRPr>
        </a:p>
      </dsp:txBody>
      <dsp:txXfrm>
        <a:off x="323005" y="945928"/>
        <a:ext cx="2924570" cy="18351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57AC93-91DF-488F-BF98-9866EEB30F36}">
      <dsp:nvSpPr>
        <dsp:cNvPr id="0" name=""/>
        <dsp:cNvSpPr/>
      </dsp:nvSpPr>
      <dsp:spPr>
        <a:xfrm>
          <a:off x="3545588" y="2262511"/>
          <a:ext cx="1612886" cy="161288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100" kern="1200" dirty="0" smtClean="0">
              <a:cs typeface="B Titr" panose="00000700000000000000" pitchFamily="2" charset="-78"/>
            </a:rPr>
            <a:t>آمادگی الکترونیکی</a:t>
          </a:r>
          <a:endParaRPr lang="en-US" sz="2100" kern="1200" dirty="0">
            <a:cs typeface="B Titr" panose="00000700000000000000" pitchFamily="2" charset="-78"/>
          </a:endParaRPr>
        </a:p>
      </dsp:txBody>
      <dsp:txXfrm>
        <a:off x="3781790" y="2498713"/>
        <a:ext cx="1140482" cy="1140482"/>
      </dsp:txXfrm>
    </dsp:sp>
    <dsp:sp modelId="{ABC1C840-7F93-41A6-9543-851AF436E18A}">
      <dsp:nvSpPr>
        <dsp:cNvPr id="0" name=""/>
        <dsp:cNvSpPr/>
      </dsp:nvSpPr>
      <dsp:spPr>
        <a:xfrm rot="16200000">
          <a:off x="4181115" y="1675512"/>
          <a:ext cx="341832" cy="548381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>
            <a:cs typeface="B Titr" panose="00000700000000000000" pitchFamily="2" charset="-78"/>
          </a:endParaRPr>
        </a:p>
      </dsp:txBody>
      <dsp:txXfrm>
        <a:off x="4232390" y="1836463"/>
        <a:ext cx="239282" cy="329029"/>
      </dsp:txXfrm>
    </dsp:sp>
    <dsp:sp modelId="{46359D73-4450-42A6-830D-FE77BBB99BAC}">
      <dsp:nvSpPr>
        <dsp:cNvPr id="0" name=""/>
        <dsp:cNvSpPr/>
      </dsp:nvSpPr>
      <dsp:spPr>
        <a:xfrm>
          <a:off x="3545588" y="4658"/>
          <a:ext cx="1612886" cy="1612886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400" kern="1200" dirty="0" smtClean="0">
              <a:cs typeface="B Titr" panose="00000700000000000000" pitchFamily="2" charset="-78"/>
            </a:rPr>
            <a:t>امنیت </a:t>
          </a:r>
          <a:r>
            <a:rPr lang="en-US" sz="2400" kern="1200" dirty="0" smtClean="0">
              <a:cs typeface="B Titr" panose="00000700000000000000" pitchFamily="2" charset="-78"/>
            </a:rPr>
            <a:t> </a:t>
          </a:r>
          <a:endParaRPr lang="en-US" sz="2400" kern="1200" dirty="0">
            <a:cs typeface="B Titr" panose="00000700000000000000" pitchFamily="2" charset="-78"/>
          </a:endParaRPr>
        </a:p>
      </dsp:txBody>
      <dsp:txXfrm>
        <a:off x="3781790" y="240860"/>
        <a:ext cx="1140482" cy="1140482"/>
      </dsp:txXfrm>
    </dsp:sp>
    <dsp:sp modelId="{A6847F6D-869F-4FA8-BE36-B0C6BCFA798C}">
      <dsp:nvSpPr>
        <dsp:cNvPr id="0" name=""/>
        <dsp:cNvSpPr/>
      </dsp:nvSpPr>
      <dsp:spPr>
        <a:xfrm rot="20520000">
          <a:off x="5245587" y="2448896"/>
          <a:ext cx="341832" cy="548381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>
            <a:cs typeface="B Titr" panose="00000700000000000000" pitchFamily="2" charset="-78"/>
          </a:endParaRPr>
        </a:p>
      </dsp:txBody>
      <dsp:txXfrm>
        <a:off x="5248097" y="2574417"/>
        <a:ext cx="239282" cy="329029"/>
      </dsp:txXfrm>
    </dsp:sp>
    <dsp:sp modelId="{11407F21-F028-4FBD-9F62-1190005AF0FB}">
      <dsp:nvSpPr>
        <dsp:cNvPr id="0" name=""/>
        <dsp:cNvSpPr/>
      </dsp:nvSpPr>
      <dsp:spPr>
        <a:xfrm>
          <a:off x="5692934" y="1564796"/>
          <a:ext cx="1612886" cy="161288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700" kern="1200" dirty="0" smtClean="0">
              <a:cs typeface="B Titr" panose="00000700000000000000" pitchFamily="2" charset="-78"/>
            </a:rPr>
            <a:t>محیط کار و کسب الکترونیکی</a:t>
          </a:r>
          <a:endParaRPr lang="en-US" sz="1700" kern="1200" dirty="0">
            <a:cs typeface="B Titr" panose="00000700000000000000" pitchFamily="2" charset="-78"/>
          </a:endParaRPr>
        </a:p>
      </dsp:txBody>
      <dsp:txXfrm>
        <a:off x="5929136" y="1800998"/>
        <a:ext cx="1140482" cy="1140482"/>
      </dsp:txXfrm>
    </dsp:sp>
    <dsp:sp modelId="{F705EE0F-9090-4C35-A6BC-B8CD355B539C}">
      <dsp:nvSpPr>
        <dsp:cNvPr id="0" name=""/>
        <dsp:cNvSpPr/>
      </dsp:nvSpPr>
      <dsp:spPr>
        <a:xfrm rot="3240000">
          <a:off x="4838995" y="3700258"/>
          <a:ext cx="341832" cy="548381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>
            <a:cs typeface="B Titr" panose="00000700000000000000" pitchFamily="2" charset="-78"/>
          </a:endParaRPr>
        </a:p>
      </dsp:txBody>
      <dsp:txXfrm>
        <a:off x="4860131" y="3768452"/>
        <a:ext cx="239282" cy="329029"/>
      </dsp:txXfrm>
    </dsp:sp>
    <dsp:sp modelId="{8D8A490C-1DEE-45B9-ADBF-060420F410BB}">
      <dsp:nvSpPr>
        <dsp:cNvPr id="0" name=""/>
        <dsp:cNvSpPr/>
      </dsp:nvSpPr>
      <dsp:spPr>
        <a:xfrm>
          <a:off x="4872721" y="4089153"/>
          <a:ext cx="1612886" cy="161288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قابلیت اتصال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5108923" y="4325355"/>
        <a:ext cx="1140482" cy="1140482"/>
      </dsp:txXfrm>
    </dsp:sp>
    <dsp:sp modelId="{1033BA76-8646-4468-AC91-A9BD87F4BC25}">
      <dsp:nvSpPr>
        <dsp:cNvPr id="0" name=""/>
        <dsp:cNvSpPr/>
      </dsp:nvSpPr>
      <dsp:spPr>
        <a:xfrm rot="7560000">
          <a:off x="3523236" y="3700258"/>
          <a:ext cx="341832" cy="548381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>
            <a:cs typeface="B Titr" panose="00000700000000000000" pitchFamily="2" charset="-78"/>
          </a:endParaRPr>
        </a:p>
      </dsp:txBody>
      <dsp:txXfrm rot="10800000">
        <a:off x="3604650" y="3768452"/>
        <a:ext cx="239282" cy="329029"/>
      </dsp:txXfrm>
    </dsp:sp>
    <dsp:sp modelId="{397ABF42-2C49-4BA0-B88E-15BD0E3DB7C5}">
      <dsp:nvSpPr>
        <dsp:cNvPr id="0" name=""/>
        <dsp:cNvSpPr/>
      </dsp:nvSpPr>
      <dsp:spPr>
        <a:xfrm>
          <a:off x="2218455" y="4089153"/>
          <a:ext cx="1612886" cy="1612886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رهبری الکترونیکی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2454657" y="4325355"/>
        <a:ext cx="1140482" cy="1140482"/>
      </dsp:txXfrm>
    </dsp:sp>
    <dsp:sp modelId="{9F15C340-2BE3-478A-B957-35101C273FEA}">
      <dsp:nvSpPr>
        <dsp:cNvPr id="0" name=""/>
        <dsp:cNvSpPr/>
      </dsp:nvSpPr>
      <dsp:spPr>
        <a:xfrm rot="11880000">
          <a:off x="3116644" y="2448896"/>
          <a:ext cx="341832" cy="548381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>
            <a:cs typeface="B Titr" panose="00000700000000000000" pitchFamily="2" charset="-78"/>
          </a:endParaRPr>
        </a:p>
      </dsp:txBody>
      <dsp:txXfrm rot="10800000">
        <a:off x="3216684" y="2574417"/>
        <a:ext cx="239282" cy="329029"/>
      </dsp:txXfrm>
    </dsp:sp>
    <dsp:sp modelId="{CBD19B21-1C43-46A3-962F-0B2F24118901}">
      <dsp:nvSpPr>
        <dsp:cNvPr id="0" name=""/>
        <dsp:cNvSpPr/>
      </dsp:nvSpPr>
      <dsp:spPr>
        <a:xfrm>
          <a:off x="1398242" y="1564796"/>
          <a:ext cx="1612886" cy="161288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cs typeface="B Titr" panose="00000700000000000000" pitchFamily="2" charset="-78"/>
            </a:rPr>
            <a:t>نیروی انسانی</a:t>
          </a:r>
          <a:endParaRPr lang="en-US" sz="2000" kern="1200" dirty="0">
            <a:cs typeface="B Titr" panose="00000700000000000000" pitchFamily="2" charset="-78"/>
          </a:endParaRPr>
        </a:p>
      </dsp:txBody>
      <dsp:txXfrm>
        <a:off x="1634444" y="1800998"/>
        <a:ext cx="1140482" cy="114048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57AC93-91DF-488F-BF98-9866EEB30F36}">
      <dsp:nvSpPr>
        <dsp:cNvPr id="0" name=""/>
        <dsp:cNvSpPr/>
      </dsp:nvSpPr>
      <dsp:spPr>
        <a:xfrm>
          <a:off x="3776728" y="2129577"/>
          <a:ext cx="1519551" cy="151955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cs typeface="B Titr" panose="00000700000000000000" pitchFamily="2" charset="-78"/>
            </a:rPr>
            <a:t>آمادگی الکترونیکی</a:t>
          </a:r>
          <a:endParaRPr lang="en-US" sz="2000" kern="1200" dirty="0">
            <a:cs typeface="B Titr" panose="00000700000000000000" pitchFamily="2" charset="-78"/>
          </a:endParaRPr>
        </a:p>
      </dsp:txBody>
      <dsp:txXfrm>
        <a:off x="3999261" y="2352110"/>
        <a:ext cx="1074485" cy="1074485"/>
      </dsp:txXfrm>
    </dsp:sp>
    <dsp:sp modelId="{ABC1C840-7F93-41A6-9543-851AF436E18A}">
      <dsp:nvSpPr>
        <dsp:cNvPr id="0" name=""/>
        <dsp:cNvSpPr/>
      </dsp:nvSpPr>
      <dsp:spPr>
        <a:xfrm rot="16200000">
          <a:off x="4375674" y="1576906"/>
          <a:ext cx="321658" cy="5166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cs typeface="B Titr" panose="00000700000000000000" pitchFamily="2" charset="-78"/>
          </a:endParaRPr>
        </a:p>
      </dsp:txBody>
      <dsp:txXfrm>
        <a:off x="4423923" y="1728484"/>
        <a:ext cx="225161" cy="309989"/>
      </dsp:txXfrm>
    </dsp:sp>
    <dsp:sp modelId="{46359D73-4450-42A6-830D-FE77BBB99BAC}">
      <dsp:nvSpPr>
        <dsp:cNvPr id="0" name=""/>
        <dsp:cNvSpPr/>
      </dsp:nvSpPr>
      <dsp:spPr>
        <a:xfrm>
          <a:off x="3776728" y="3123"/>
          <a:ext cx="1519551" cy="1519551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800" kern="1200" dirty="0" smtClean="0">
              <a:cs typeface="B Titr" panose="00000700000000000000" pitchFamily="2" charset="-78"/>
            </a:rPr>
            <a:t>هزینه</a:t>
          </a:r>
          <a:endParaRPr lang="en-US" sz="2800" kern="1200" dirty="0">
            <a:cs typeface="B Titr" panose="00000700000000000000" pitchFamily="2" charset="-78"/>
          </a:endParaRPr>
        </a:p>
      </dsp:txBody>
      <dsp:txXfrm>
        <a:off x="3999261" y="225656"/>
        <a:ext cx="1074485" cy="1074485"/>
      </dsp:txXfrm>
    </dsp:sp>
    <dsp:sp modelId="{A6847F6D-869F-4FA8-BE36-B0C6BCFA798C}">
      <dsp:nvSpPr>
        <dsp:cNvPr id="0" name=""/>
        <dsp:cNvSpPr/>
      </dsp:nvSpPr>
      <dsp:spPr>
        <a:xfrm rot="19800000">
          <a:off x="5288572" y="2103967"/>
          <a:ext cx="321658" cy="5166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cs typeface="B Titr" panose="00000700000000000000" pitchFamily="2" charset="-78"/>
          </a:endParaRPr>
        </a:p>
      </dsp:txBody>
      <dsp:txXfrm>
        <a:off x="5295036" y="2231420"/>
        <a:ext cx="225161" cy="309989"/>
      </dsp:txXfrm>
    </dsp:sp>
    <dsp:sp modelId="{11407F21-F028-4FBD-9F62-1190005AF0FB}">
      <dsp:nvSpPr>
        <dsp:cNvPr id="0" name=""/>
        <dsp:cNvSpPr/>
      </dsp:nvSpPr>
      <dsp:spPr>
        <a:xfrm>
          <a:off x="5618291" y="1066350"/>
          <a:ext cx="1519551" cy="151955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cs typeface="B Titr" panose="00000700000000000000" pitchFamily="2" charset="-78"/>
            </a:rPr>
            <a:t>اعتماد کاربران</a:t>
          </a:r>
          <a:endParaRPr lang="en-US" sz="2000" kern="1200" dirty="0">
            <a:cs typeface="B Titr" panose="00000700000000000000" pitchFamily="2" charset="-78"/>
          </a:endParaRPr>
        </a:p>
      </dsp:txBody>
      <dsp:txXfrm>
        <a:off x="5840824" y="1288883"/>
        <a:ext cx="1074485" cy="1074485"/>
      </dsp:txXfrm>
    </dsp:sp>
    <dsp:sp modelId="{F705EE0F-9090-4C35-A6BC-B8CD355B539C}">
      <dsp:nvSpPr>
        <dsp:cNvPr id="0" name=""/>
        <dsp:cNvSpPr/>
      </dsp:nvSpPr>
      <dsp:spPr>
        <a:xfrm rot="1800000">
          <a:off x="5288572" y="3158091"/>
          <a:ext cx="321658" cy="5166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cs typeface="B Titr" panose="00000700000000000000" pitchFamily="2" charset="-78"/>
          </a:endParaRPr>
        </a:p>
      </dsp:txBody>
      <dsp:txXfrm>
        <a:off x="5295036" y="3237296"/>
        <a:ext cx="225161" cy="309989"/>
      </dsp:txXfrm>
    </dsp:sp>
    <dsp:sp modelId="{8D8A490C-1DEE-45B9-ADBF-060420F410BB}">
      <dsp:nvSpPr>
        <dsp:cNvPr id="0" name=""/>
        <dsp:cNvSpPr/>
      </dsp:nvSpPr>
      <dsp:spPr>
        <a:xfrm>
          <a:off x="5618291" y="3192804"/>
          <a:ext cx="1519551" cy="1519551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cs typeface="B Titr" panose="00000700000000000000" pitchFamily="2" charset="-78"/>
            </a:rPr>
            <a:t>مشکلات فنّاورانه</a:t>
          </a:r>
          <a:endParaRPr lang="en-US" sz="2000" kern="1200" dirty="0">
            <a:cs typeface="B Titr" panose="00000700000000000000" pitchFamily="2" charset="-78"/>
          </a:endParaRPr>
        </a:p>
      </dsp:txBody>
      <dsp:txXfrm>
        <a:off x="5840824" y="3415337"/>
        <a:ext cx="1074485" cy="1074485"/>
      </dsp:txXfrm>
    </dsp:sp>
    <dsp:sp modelId="{1033BA76-8646-4468-AC91-A9BD87F4BC25}">
      <dsp:nvSpPr>
        <dsp:cNvPr id="0" name=""/>
        <dsp:cNvSpPr/>
      </dsp:nvSpPr>
      <dsp:spPr>
        <a:xfrm rot="5400000">
          <a:off x="4375674" y="3685153"/>
          <a:ext cx="321658" cy="5166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cs typeface="B Titr" panose="00000700000000000000" pitchFamily="2" charset="-78"/>
          </a:endParaRPr>
        </a:p>
      </dsp:txBody>
      <dsp:txXfrm>
        <a:off x="4423923" y="3740234"/>
        <a:ext cx="225161" cy="309989"/>
      </dsp:txXfrm>
    </dsp:sp>
    <dsp:sp modelId="{397ABF42-2C49-4BA0-B88E-15BD0E3DB7C5}">
      <dsp:nvSpPr>
        <dsp:cNvPr id="0" name=""/>
        <dsp:cNvSpPr/>
      </dsp:nvSpPr>
      <dsp:spPr>
        <a:xfrm>
          <a:off x="3776728" y="4256031"/>
          <a:ext cx="1519551" cy="151955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cs typeface="B Titr" panose="00000700000000000000" pitchFamily="2" charset="-78"/>
            </a:rPr>
            <a:t>نیروی کار</a:t>
          </a:r>
          <a:endParaRPr lang="en-US" sz="2000" kern="1200" dirty="0">
            <a:cs typeface="B Titr" panose="00000700000000000000" pitchFamily="2" charset="-78"/>
          </a:endParaRPr>
        </a:p>
      </dsp:txBody>
      <dsp:txXfrm>
        <a:off x="3999261" y="4478564"/>
        <a:ext cx="1074485" cy="1074485"/>
      </dsp:txXfrm>
    </dsp:sp>
    <dsp:sp modelId="{9F15C340-2BE3-478A-B957-35101C273FEA}">
      <dsp:nvSpPr>
        <dsp:cNvPr id="0" name=""/>
        <dsp:cNvSpPr/>
      </dsp:nvSpPr>
      <dsp:spPr>
        <a:xfrm rot="9000000">
          <a:off x="3462777" y="3158091"/>
          <a:ext cx="321658" cy="5166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cs typeface="B Titr" panose="00000700000000000000" pitchFamily="2" charset="-78"/>
          </a:endParaRPr>
        </a:p>
      </dsp:txBody>
      <dsp:txXfrm rot="10800000">
        <a:off x="3552810" y="3237296"/>
        <a:ext cx="225161" cy="309989"/>
      </dsp:txXfrm>
    </dsp:sp>
    <dsp:sp modelId="{CBD19B21-1C43-46A3-962F-0B2F24118901}">
      <dsp:nvSpPr>
        <dsp:cNvPr id="0" name=""/>
        <dsp:cNvSpPr/>
      </dsp:nvSpPr>
      <dsp:spPr>
        <a:xfrm>
          <a:off x="1935164" y="3192804"/>
          <a:ext cx="1519551" cy="1519551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cs typeface="B Titr" panose="00000700000000000000" pitchFamily="2" charset="-78"/>
            </a:rPr>
            <a:t>سیاست‌های دولت</a:t>
          </a:r>
          <a:endParaRPr lang="en-US" sz="2000" kern="1200" dirty="0">
            <a:cs typeface="B Titr" panose="00000700000000000000" pitchFamily="2" charset="-78"/>
          </a:endParaRPr>
        </a:p>
      </dsp:txBody>
      <dsp:txXfrm>
        <a:off x="2157697" y="3415337"/>
        <a:ext cx="1074485" cy="1074485"/>
      </dsp:txXfrm>
    </dsp:sp>
    <dsp:sp modelId="{97101A77-083F-400D-9763-059D110888FC}">
      <dsp:nvSpPr>
        <dsp:cNvPr id="0" name=""/>
        <dsp:cNvSpPr/>
      </dsp:nvSpPr>
      <dsp:spPr>
        <a:xfrm rot="12600000">
          <a:off x="3462777" y="2103967"/>
          <a:ext cx="321658" cy="5166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/>
        </a:p>
      </dsp:txBody>
      <dsp:txXfrm rot="10800000">
        <a:off x="3552810" y="2231420"/>
        <a:ext cx="225161" cy="309989"/>
      </dsp:txXfrm>
    </dsp:sp>
    <dsp:sp modelId="{70F9E6C6-F971-467A-A950-35C387B45D92}">
      <dsp:nvSpPr>
        <dsp:cNvPr id="0" name=""/>
        <dsp:cNvSpPr/>
      </dsp:nvSpPr>
      <dsp:spPr>
        <a:xfrm>
          <a:off x="1935164" y="1066350"/>
          <a:ext cx="1519551" cy="1519551"/>
        </a:xfrm>
        <a:prstGeom prst="ellipse">
          <a:avLst/>
        </a:prstGeom>
        <a:solidFill>
          <a:srgbClr val="8D8B45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cs typeface="B Titr" panose="00000700000000000000" pitchFamily="2" charset="-78"/>
            </a:rPr>
            <a:t>پایداری کاربران</a:t>
          </a:r>
          <a:endParaRPr lang="en-US" sz="2000" kern="1200" dirty="0">
            <a:cs typeface="B Titr" panose="00000700000000000000" pitchFamily="2" charset="-78"/>
          </a:endParaRPr>
        </a:p>
      </dsp:txBody>
      <dsp:txXfrm>
        <a:off x="2157697" y="1288883"/>
        <a:ext cx="1074485" cy="107448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57AC93-91DF-488F-BF98-9866EEB30F36}">
      <dsp:nvSpPr>
        <dsp:cNvPr id="0" name=""/>
        <dsp:cNvSpPr/>
      </dsp:nvSpPr>
      <dsp:spPr>
        <a:xfrm>
          <a:off x="3703630" y="2167774"/>
          <a:ext cx="1665747" cy="166574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200" kern="1200" dirty="0" smtClean="0">
              <a:cs typeface="B Titr" panose="00000700000000000000" pitchFamily="2" charset="-78"/>
            </a:rPr>
            <a:t>آمادگی الکترونیکی</a:t>
          </a:r>
          <a:endParaRPr lang="en-US" sz="2200" kern="1200" dirty="0">
            <a:cs typeface="B Titr" panose="00000700000000000000" pitchFamily="2" charset="-78"/>
          </a:endParaRPr>
        </a:p>
      </dsp:txBody>
      <dsp:txXfrm>
        <a:off x="3947573" y="2411717"/>
        <a:ext cx="1177861" cy="1177861"/>
      </dsp:txXfrm>
    </dsp:sp>
    <dsp:sp modelId="{ABC1C840-7F93-41A6-9543-851AF436E18A}">
      <dsp:nvSpPr>
        <dsp:cNvPr id="0" name=""/>
        <dsp:cNvSpPr/>
      </dsp:nvSpPr>
      <dsp:spPr>
        <a:xfrm rot="16200000">
          <a:off x="4360224" y="1561971"/>
          <a:ext cx="352559" cy="566354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>
            <a:cs typeface="B Titr" panose="00000700000000000000" pitchFamily="2" charset="-78"/>
          </a:endParaRPr>
        </a:p>
      </dsp:txBody>
      <dsp:txXfrm>
        <a:off x="4413108" y="1728126"/>
        <a:ext cx="246791" cy="339812"/>
      </dsp:txXfrm>
    </dsp:sp>
    <dsp:sp modelId="{46359D73-4450-42A6-830D-FE77BBB99BAC}">
      <dsp:nvSpPr>
        <dsp:cNvPr id="0" name=""/>
        <dsp:cNvSpPr/>
      </dsp:nvSpPr>
      <dsp:spPr>
        <a:xfrm>
          <a:off x="3786917" y="3394"/>
          <a:ext cx="1499172" cy="1499172"/>
        </a:xfrm>
        <a:prstGeom prst="ellipse">
          <a:avLst/>
        </a:prstGeom>
        <a:solidFill>
          <a:srgbClr val="00B0F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مدیریت تغییر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4006466" y="222943"/>
        <a:ext cx="1060074" cy="1060074"/>
      </dsp:txXfrm>
    </dsp:sp>
    <dsp:sp modelId="{A6847F6D-869F-4FA8-BE36-B0C6BCFA798C}">
      <dsp:nvSpPr>
        <dsp:cNvPr id="0" name=""/>
        <dsp:cNvSpPr/>
      </dsp:nvSpPr>
      <dsp:spPr>
        <a:xfrm rot="19285714">
          <a:off x="5263629" y="1997029"/>
          <a:ext cx="352559" cy="5663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>
            <a:cs typeface="B Titr" panose="00000700000000000000" pitchFamily="2" charset="-78"/>
          </a:endParaRPr>
        </a:p>
      </dsp:txBody>
      <dsp:txXfrm>
        <a:off x="5275167" y="2143273"/>
        <a:ext cx="246791" cy="339812"/>
      </dsp:txXfrm>
    </dsp:sp>
    <dsp:sp modelId="{11407F21-F028-4FBD-9F62-1190005AF0FB}">
      <dsp:nvSpPr>
        <dsp:cNvPr id="0" name=""/>
        <dsp:cNvSpPr/>
      </dsp:nvSpPr>
      <dsp:spPr>
        <a:xfrm>
          <a:off x="5544214" y="849664"/>
          <a:ext cx="1499172" cy="149917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نوآوری مجدد ساختار آموزشی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5763763" y="1069213"/>
        <a:ext cx="1060074" cy="1060074"/>
      </dsp:txXfrm>
    </dsp:sp>
    <dsp:sp modelId="{F705EE0F-9090-4C35-A6BC-B8CD355B539C}">
      <dsp:nvSpPr>
        <dsp:cNvPr id="0" name=""/>
        <dsp:cNvSpPr/>
      </dsp:nvSpPr>
      <dsp:spPr>
        <a:xfrm rot="771429">
          <a:off x="5486752" y="2974593"/>
          <a:ext cx="352559" cy="5663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>
            <a:cs typeface="B Titr" panose="00000700000000000000" pitchFamily="2" charset="-78"/>
          </a:endParaRPr>
        </a:p>
      </dsp:txBody>
      <dsp:txXfrm>
        <a:off x="5488078" y="3076096"/>
        <a:ext cx="246791" cy="339812"/>
      </dsp:txXfrm>
    </dsp:sp>
    <dsp:sp modelId="{8D8A490C-1DEE-45B9-ADBF-060420F410BB}">
      <dsp:nvSpPr>
        <dsp:cNvPr id="0" name=""/>
        <dsp:cNvSpPr/>
      </dsp:nvSpPr>
      <dsp:spPr>
        <a:xfrm>
          <a:off x="5978230" y="2751214"/>
          <a:ext cx="1499172" cy="1499172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صنعت یادگیری الکترونیکی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6197779" y="2970763"/>
        <a:ext cx="1060074" cy="1060074"/>
      </dsp:txXfrm>
    </dsp:sp>
    <dsp:sp modelId="{1033BA76-8646-4468-AC91-A9BD87F4BC25}">
      <dsp:nvSpPr>
        <dsp:cNvPr id="0" name=""/>
        <dsp:cNvSpPr/>
      </dsp:nvSpPr>
      <dsp:spPr>
        <a:xfrm rot="3857143">
          <a:off x="4861576" y="3758539"/>
          <a:ext cx="352559" cy="5663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>
            <a:cs typeface="B Titr" panose="00000700000000000000" pitchFamily="2" charset="-78"/>
          </a:endParaRPr>
        </a:p>
      </dsp:txBody>
      <dsp:txXfrm>
        <a:off x="4891514" y="3824163"/>
        <a:ext cx="246791" cy="339812"/>
      </dsp:txXfrm>
    </dsp:sp>
    <dsp:sp modelId="{397ABF42-2C49-4BA0-B88E-15BD0E3DB7C5}">
      <dsp:nvSpPr>
        <dsp:cNvPr id="0" name=""/>
        <dsp:cNvSpPr/>
      </dsp:nvSpPr>
      <dsp:spPr>
        <a:xfrm>
          <a:off x="4762143" y="4276139"/>
          <a:ext cx="1499172" cy="1499172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تعهد کارکنان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4981692" y="4495688"/>
        <a:ext cx="1060074" cy="1060074"/>
      </dsp:txXfrm>
    </dsp:sp>
    <dsp:sp modelId="{9F15C340-2BE3-478A-B957-35101C273FEA}">
      <dsp:nvSpPr>
        <dsp:cNvPr id="0" name=""/>
        <dsp:cNvSpPr/>
      </dsp:nvSpPr>
      <dsp:spPr>
        <a:xfrm rot="6942857">
          <a:off x="3858872" y="3758539"/>
          <a:ext cx="352559" cy="5663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>
            <a:cs typeface="B Titr" panose="00000700000000000000" pitchFamily="2" charset="-78"/>
          </a:endParaRPr>
        </a:p>
      </dsp:txBody>
      <dsp:txXfrm rot="10800000">
        <a:off x="3934702" y="3824163"/>
        <a:ext cx="246791" cy="339812"/>
      </dsp:txXfrm>
    </dsp:sp>
    <dsp:sp modelId="{CBD19B21-1C43-46A3-962F-0B2F24118901}">
      <dsp:nvSpPr>
        <dsp:cNvPr id="0" name=""/>
        <dsp:cNvSpPr/>
      </dsp:nvSpPr>
      <dsp:spPr>
        <a:xfrm>
          <a:off x="2811691" y="4276139"/>
          <a:ext cx="1499172" cy="1499172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ارزش آموزش و طراحی اطلاعات 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3031240" y="4495688"/>
        <a:ext cx="1060074" cy="1060074"/>
      </dsp:txXfrm>
    </dsp:sp>
    <dsp:sp modelId="{97101A77-083F-400D-9763-059D110888FC}">
      <dsp:nvSpPr>
        <dsp:cNvPr id="0" name=""/>
        <dsp:cNvSpPr/>
      </dsp:nvSpPr>
      <dsp:spPr>
        <a:xfrm rot="10028571">
          <a:off x="3233696" y="2974593"/>
          <a:ext cx="352559" cy="5663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 rot="10800000">
        <a:off x="3338138" y="3076096"/>
        <a:ext cx="246791" cy="339812"/>
      </dsp:txXfrm>
    </dsp:sp>
    <dsp:sp modelId="{70F9E6C6-F971-467A-A950-35C387B45D92}">
      <dsp:nvSpPr>
        <dsp:cNvPr id="0" name=""/>
        <dsp:cNvSpPr/>
      </dsp:nvSpPr>
      <dsp:spPr>
        <a:xfrm>
          <a:off x="1595604" y="2751214"/>
          <a:ext cx="1499172" cy="149917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آمادگی تجاری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1815153" y="2970763"/>
        <a:ext cx="1060074" cy="1060074"/>
      </dsp:txXfrm>
    </dsp:sp>
    <dsp:sp modelId="{12052458-203A-47CC-9EDD-A2BD30910241}">
      <dsp:nvSpPr>
        <dsp:cNvPr id="0" name=""/>
        <dsp:cNvSpPr/>
      </dsp:nvSpPr>
      <dsp:spPr>
        <a:xfrm rot="13114286">
          <a:off x="3456818" y="1997029"/>
          <a:ext cx="352559" cy="566354"/>
        </a:xfrm>
        <a:prstGeom prst="rightArrow">
          <a:avLst>
            <a:gd name="adj1" fmla="val 60000"/>
            <a:gd name="adj2" fmla="val 50000"/>
          </a:avLst>
        </a:prstGeom>
        <a:solidFill>
          <a:srgbClr val="7030A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a-IR" sz="1800" kern="1200"/>
        </a:p>
      </dsp:txBody>
      <dsp:txXfrm rot="10800000">
        <a:off x="3551048" y="2143273"/>
        <a:ext cx="246791" cy="339812"/>
      </dsp:txXfrm>
    </dsp:sp>
    <dsp:sp modelId="{A46D70FB-36D2-4870-AA2A-FCF7CD1DA6B0}">
      <dsp:nvSpPr>
        <dsp:cNvPr id="0" name=""/>
        <dsp:cNvSpPr/>
      </dsp:nvSpPr>
      <dsp:spPr>
        <a:xfrm>
          <a:off x="2029620" y="849664"/>
          <a:ext cx="1499172" cy="1499172"/>
        </a:xfrm>
        <a:prstGeom prst="ellipse">
          <a:avLst/>
        </a:prstGeom>
        <a:solidFill>
          <a:srgbClr val="7030A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تغییر ماهیت آموزش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2249169" y="1069213"/>
        <a:ext cx="1060074" cy="106007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57AC93-91DF-488F-BF98-9866EEB30F36}">
      <dsp:nvSpPr>
        <dsp:cNvPr id="0" name=""/>
        <dsp:cNvSpPr/>
      </dsp:nvSpPr>
      <dsp:spPr>
        <a:xfrm>
          <a:off x="3719135" y="2290322"/>
          <a:ext cx="1634736" cy="163473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cs typeface="B Titr" panose="00000700000000000000" pitchFamily="2" charset="-78"/>
            </a:rPr>
            <a:t>آمادگی الکترونیکی</a:t>
          </a:r>
          <a:endParaRPr lang="en-US" sz="2000" kern="1200" dirty="0">
            <a:cs typeface="B Titr" panose="00000700000000000000" pitchFamily="2" charset="-78"/>
          </a:endParaRPr>
        </a:p>
      </dsp:txBody>
      <dsp:txXfrm>
        <a:off x="3958537" y="2529724"/>
        <a:ext cx="1155932" cy="1155932"/>
      </dsp:txXfrm>
    </dsp:sp>
    <dsp:sp modelId="{ABC1C840-7F93-41A6-9543-851AF436E18A}">
      <dsp:nvSpPr>
        <dsp:cNvPr id="0" name=""/>
        <dsp:cNvSpPr/>
      </dsp:nvSpPr>
      <dsp:spPr>
        <a:xfrm rot="16200000">
          <a:off x="4363798" y="1696333"/>
          <a:ext cx="345411" cy="555810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>
            <a:cs typeface="B Titr" panose="00000700000000000000" pitchFamily="2" charset="-78"/>
          </a:endParaRPr>
        </a:p>
      </dsp:txBody>
      <dsp:txXfrm>
        <a:off x="4415610" y="1859307"/>
        <a:ext cx="241788" cy="333486"/>
      </dsp:txXfrm>
    </dsp:sp>
    <dsp:sp modelId="{46359D73-4450-42A6-830D-FE77BBB99BAC}">
      <dsp:nvSpPr>
        <dsp:cNvPr id="0" name=""/>
        <dsp:cNvSpPr/>
      </dsp:nvSpPr>
      <dsp:spPr>
        <a:xfrm>
          <a:off x="3719135" y="3866"/>
          <a:ext cx="1634736" cy="1634736"/>
        </a:xfrm>
        <a:prstGeom prst="ellipse">
          <a:avLst/>
        </a:prstGeom>
        <a:solidFill>
          <a:srgbClr val="00B0F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400" kern="1200" dirty="0" smtClean="0">
              <a:cs typeface="B Titr" panose="00000700000000000000" pitchFamily="2" charset="-78"/>
            </a:rPr>
            <a:t>محتوا</a:t>
          </a:r>
          <a:endParaRPr lang="en-US" sz="2400" kern="1200" dirty="0">
            <a:cs typeface="B Titr" panose="00000700000000000000" pitchFamily="2" charset="-78"/>
          </a:endParaRPr>
        </a:p>
      </dsp:txBody>
      <dsp:txXfrm>
        <a:off x="3958537" y="243268"/>
        <a:ext cx="1155932" cy="1155932"/>
      </dsp:txXfrm>
    </dsp:sp>
    <dsp:sp modelId="{A6847F6D-869F-4FA8-BE36-B0C6BCFA798C}">
      <dsp:nvSpPr>
        <dsp:cNvPr id="0" name=""/>
        <dsp:cNvSpPr/>
      </dsp:nvSpPr>
      <dsp:spPr>
        <a:xfrm rot="20520000">
          <a:off x="5441775" y="2479529"/>
          <a:ext cx="345411" cy="555810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>
            <a:cs typeface="B Titr" panose="00000700000000000000" pitchFamily="2" charset="-78"/>
          </a:endParaRPr>
        </a:p>
      </dsp:txBody>
      <dsp:txXfrm>
        <a:off x="5444311" y="2606702"/>
        <a:ext cx="241788" cy="333486"/>
      </dsp:txXfrm>
    </dsp:sp>
    <dsp:sp modelId="{11407F21-F028-4FBD-9F62-1190005AF0FB}">
      <dsp:nvSpPr>
        <dsp:cNvPr id="0" name=""/>
        <dsp:cNvSpPr/>
      </dsp:nvSpPr>
      <dsp:spPr>
        <a:xfrm>
          <a:off x="5893684" y="1583768"/>
          <a:ext cx="1634736" cy="163473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400" kern="1200" dirty="0" smtClean="0">
              <a:cs typeface="B Titr" panose="00000700000000000000" pitchFamily="2" charset="-78"/>
            </a:rPr>
            <a:t>ظرفیت</a:t>
          </a:r>
          <a:endParaRPr lang="en-US" sz="2400" kern="1200" dirty="0">
            <a:cs typeface="B Titr" panose="00000700000000000000" pitchFamily="2" charset="-78"/>
          </a:endParaRPr>
        </a:p>
      </dsp:txBody>
      <dsp:txXfrm>
        <a:off x="6133086" y="1823170"/>
        <a:ext cx="1155932" cy="1155932"/>
      </dsp:txXfrm>
    </dsp:sp>
    <dsp:sp modelId="{F705EE0F-9090-4C35-A6BC-B8CD355B539C}">
      <dsp:nvSpPr>
        <dsp:cNvPr id="0" name=""/>
        <dsp:cNvSpPr/>
      </dsp:nvSpPr>
      <dsp:spPr>
        <a:xfrm rot="3240000">
          <a:off x="5030024" y="3746767"/>
          <a:ext cx="345411" cy="555810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>
            <a:cs typeface="B Titr" panose="00000700000000000000" pitchFamily="2" charset="-78"/>
          </a:endParaRPr>
        </a:p>
      </dsp:txBody>
      <dsp:txXfrm>
        <a:off x="5051381" y="3816013"/>
        <a:ext cx="241788" cy="333486"/>
      </dsp:txXfrm>
    </dsp:sp>
    <dsp:sp modelId="{8D8A490C-1DEE-45B9-ADBF-060420F410BB}">
      <dsp:nvSpPr>
        <dsp:cNvPr id="0" name=""/>
        <dsp:cNvSpPr/>
      </dsp:nvSpPr>
      <dsp:spPr>
        <a:xfrm>
          <a:off x="5063080" y="4140103"/>
          <a:ext cx="1634736" cy="163473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400" kern="1200" dirty="0" smtClean="0">
              <a:cs typeface="B Titr" panose="00000700000000000000" pitchFamily="2" charset="-78"/>
            </a:rPr>
            <a:t>هزینه</a:t>
          </a:r>
          <a:endParaRPr lang="en-US" sz="2400" kern="1200" dirty="0">
            <a:cs typeface="B Titr" panose="00000700000000000000" pitchFamily="2" charset="-78"/>
          </a:endParaRPr>
        </a:p>
      </dsp:txBody>
      <dsp:txXfrm>
        <a:off x="5302482" y="4379505"/>
        <a:ext cx="1155932" cy="1155932"/>
      </dsp:txXfrm>
    </dsp:sp>
    <dsp:sp modelId="{9F15C340-2BE3-478A-B957-35101C273FEA}">
      <dsp:nvSpPr>
        <dsp:cNvPr id="0" name=""/>
        <dsp:cNvSpPr/>
      </dsp:nvSpPr>
      <dsp:spPr>
        <a:xfrm rot="7560000">
          <a:off x="3697571" y="3746767"/>
          <a:ext cx="345411" cy="555810"/>
        </a:xfrm>
        <a:prstGeom prst="rightArrow">
          <a:avLst>
            <a:gd name="adj1" fmla="val 60000"/>
            <a:gd name="adj2" fmla="val 50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>
            <a:cs typeface="B Titr" panose="00000700000000000000" pitchFamily="2" charset="-78"/>
          </a:endParaRPr>
        </a:p>
      </dsp:txBody>
      <dsp:txXfrm rot="10800000">
        <a:off x="3779837" y="3816013"/>
        <a:ext cx="241788" cy="333486"/>
      </dsp:txXfrm>
    </dsp:sp>
    <dsp:sp modelId="{CBD19B21-1C43-46A3-962F-0B2F24118901}">
      <dsp:nvSpPr>
        <dsp:cNvPr id="0" name=""/>
        <dsp:cNvSpPr/>
      </dsp:nvSpPr>
      <dsp:spPr>
        <a:xfrm>
          <a:off x="2375190" y="4140103"/>
          <a:ext cx="1634736" cy="1634736"/>
        </a:xfrm>
        <a:prstGeom prst="ellipse">
          <a:avLst/>
        </a:prstGeom>
        <a:solidFill>
          <a:srgbClr val="FFC00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400" kern="1200" dirty="0" smtClean="0">
              <a:cs typeface="B Titr" panose="00000700000000000000" pitchFamily="2" charset="-78"/>
            </a:rPr>
            <a:t>کاربران</a:t>
          </a:r>
          <a:endParaRPr lang="en-US" sz="2400" kern="1200" dirty="0">
            <a:cs typeface="B Titr" panose="00000700000000000000" pitchFamily="2" charset="-78"/>
          </a:endParaRPr>
        </a:p>
      </dsp:txBody>
      <dsp:txXfrm>
        <a:off x="2614592" y="4379505"/>
        <a:ext cx="1155932" cy="1155932"/>
      </dsp:txXfrm>
    </dsp:sp>
    <dsp:sp modelId="{12052458-203A-47CC-9EDD-A2BD30910241}">
      <dsp:nvSpPr>
        <dsp:cNvPr id="0" name=""/>
        <dsp:cNvSpPr/>
      </dsp:nvSpPr>
      <dsp:spPr>
        <a:xfrm rot="11880000">
          <a:off x="3285821" y="2479529"/>
          <a:ext cx="345411" cy="555810"/>
        </a:xfrm>
        <a:prstGeom prst="rightArrow">
          <a:avLst>
            <a:gd name="adj1" fmla="val 60000"/>
            <a:gd name="adj2" fmla="val 50000"/>
          </a:avLst>
        </a:prstGeom>
        <a:solidFill>
          <a:srgbClr val="7030A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a-IR" sz="2000" kern="1200"/>
        </a:p>
      </dsp:txBody>
      <dsp:txXfrm rot="10800000">
        <a:off x="3386908" y="2606702"/>
        <a:ext cx="241788" cy="333486"/>
      </dsp:txXfrm>
    </dsp:sp>
    <dsp:sp modelId="{A46D70FB-36D2-4870-AA2A-FCF7CD1DA6B0}">
      <dsp:nvSpPr>
        <dsp:cNvPr id="0" name=""/>
        <dsp:cNvSpPr/>
      </dsp:nvSpPr>
      <dsp:spPr>
        <a:xfrm>
          <a:off x="1544587" y="1583768"/>
          <a:ext cx="1634736" cy="1634736"/>
        </a:xfrm>
        <a:prstGeom prst="ellipse">
          <a:avLst/>
        </a:prstGeom>
        <a:solidFill>
          <a:srgbClr val="7030A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400" kern="1200" dirty="0" smtClean="0">
              <a:cs typeface="B Titr" panose="00000700000000000000" pitchFamily="2" charset="-78"/>
            </a:rPr>
            <a:t>فرهنگ</a:t>
          </a:r>
          <a:endParaRPr lang="en-US" sz="2400" kern="1200" dirty="0">
            <a:cs typeface="B Titr" panose="00000700000000000000" pitchFamily="2" charset="-78"/>
          </a:endParaRPr>
        </a:p>
      </dsp:txBody>
      <dsp:txXfrm>
        <a:off x="1783989" y="1823170"/>
        <a:ext cx="1155932" cy="115593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57AC93-91DF-488F-BF98-9866EEB30F36}">
      <dsp:nvSpPr>
        <dsp:cNvPr id="0" name=""/>
        <dsp:cNvSpPr/>
      </dsp:nvSpPr>
      <dsp:spPr>
        <a:xfrm>
          <a:off x="4431445" y="2233912"/>
          <a:ext cx="1506261" cy="150626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cs typeface="B Titr" panose="00000700000000000000" pitchFamily="2" charset="-78"/>
            </a:rPr>
            <a:t>آمادگی الکترونیکی</a:t>
          </a:r>
          <a:endParaRPr lang="en-US" sz="2000" kern="1200" dirty="0">
            <a:cs typeface="B Titr" panose="00000700000000000000" pitchFamily="2" charset="-78"/>
          </a:endParaRPr>
        </a:p>
      </dsp:txBody>
      <dsp:txXfrm>
        <a:off x="4652032" y="2454499"/>
        <a:ext cx="1065087" cy="1065087"/>
      </dsp:txXfrm>
    </dsp:sp>
    <dsp:sp modelId="{ABC1C840-7F93-41A6-9543-851AF436E18A}">
      <dsp:nvSpPr>
        <dsp:cNvPr id="0" name=""/>
        <dsp:cNvSpPr/>
      </dsp:nvSpPr>
      <dsp:spPr>
        <a:xfrm rot="16200000">
          <a:off x="4953317" y="1554601"/>
          <a:ext cx="462517" cy="512128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cs typeface="B Titr" panose="00000700000000000000" pitchFamily="2" charset="-78"/>
          </a:endParaRPr>
        </a:p>
      </dsp:txBody>
      <dsp:txXfrm>
        <a:off x="5022695" y="1726405"/>
        <a:ext cx="323762" cy="307276"/>
      </dsp:txXfrm>
    </dsp:sp>
    <dsp:sp modelId="{46359D73-4450-42A6-830D-FE77BBB99BAC}">
      <dsp:nvSpPr>
        <dsp:cNvPr id="0" name=""/>
        <dsp:cNvSpPr/>
      </dsp:nvSpPr>
      <dsp:spPr>
        <a:xfrm>
          <a:off x="4506758" y="5604"/>
          <a:ext cx="1355634" cy="1355634"/>
        </a:xfrm>
        <a:prstGeom prst="ellipse">
          <a:avLst/>
        </a:prstGeom>
        <a:solidFill>
          <a:srgbClr val="00B0F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آمادگی مالی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4705286" y="204132"/>
        <a:ext cx="958578" cy="958578"/>
      </dsp:txXfrm>
    </dsp:sp>
    <dsp:sp modelId="{A6847F6D-869F-4FA8-BE36-B0C6BCFA798C}">
      <dsp:nvSpPr>
        <dsp:cNvPr id="0" name=""/>
        <dsp:cNvSpPr/>
      </dsp:nvSpPr>
      <dsp:spPr>
        <a:xfrm rot="18900000">
          <a:off x="5785141" y="1899154"/>
          <a:ext cx="462517" cy="5121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cs typeface="B Titr" panose="00000700000000000000" pitchFamily="2" charset="-78"/>
          </a:endParaRPr>
        </a:p>
      </dsp:txBody>
      <dsp:txXfrm>
        <a:off x="5805461" y="2050637"/>
        <a:ext cx="323762" cy="307276"/>
      </dsp:txXfrm>
    </dsp:sp>
    <dsp:sp modelId="{11407F21-F028-4FBD-9F62-1190005AF0FB}">
      <dsp:nvSpPr>
        <dsp:cNvPr id="0" name=""/>
        <dsp:cNvSpPr/>
      </dsp:nvSpPr>
      <dsp:spPr>
        <a:xfrm>
          <a:off x="6135665" y="680319"/>
          <a:ext cx="1355634" cy="1355634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400" kern="1200" dirty="0" smtClean="0">
              <a:cs typeface="B Titr" panose="00000700000000000000" pitchFamily="2" charset="-78"/>
            </a:rPr>
            <a:t>آمادگی جامعه‌شناختی</a:t>
          </a:r>
          <a:endParaRPr lang="en-US" sz="1400" kern="1200" dirty="0">
            <a:cs typeface="B Titr" panose="00000700000000000000" pitchFamily="2" charset="-78"/>
          </a:endParaRPr>
        </a:p>
      </dsp:txBody>
      <dsp:txXfrm>
        <a:off x="6334193" y="878847"/>
        <a:ext cx="958578" cy="958578"/>
      </dsp:txXfrm>
    </dsp:sp>
    <dsp:sp modelId="{F705EE0F-9090-4C35-A6BC-B8CD355B539C}">
      <dsp:nvSpPr>
        <dsp:cNvPr id="0" name=""/>
        <dsp:cNvSpPr/>
      </dsp:nvSpPr>
      <dsp:spPr>
        <a:xfrm>
          <a:off x="6129694" y="2730979"/>
          <a:ext cx="462517" cy="5121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cs typeface="B Titr" panose="00000700000000000000" pitchFamily="2" charset="-78"/>
          </a:endParaRPr>
        </a:p>
      </dsp:txBody>
      <dsp:txXfrm>
        <a:off x="6129694" y="2833405"/>
        <a:ext cx="323762" cy="307276"/>
      </dsp:txXfrm>
    </dsp:sp>
    <dsp:sp modelId="{8D8A490C-1DEE-45B9-ADBF-060420F410BB}">
      <dsp:nvSpPr>
        <dsp:cNvPr id="0" name=""/>
        <dsp:cNvSpPr/>
      </dsp:nvSpPr>
      <dsp:spPr>
        <a:xfrm>
          <a:off x="6810380" y="2309226"/>
          <a:ext cx="1355634" cy="1355634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آمادگی منابع انسانی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7008908" y="2507754"/>
        <a:ext cx="958578" cy="958578"/>
      </dsp:txXfrm>
    </dsp:sp>
    <dsp:sp modelId="{241A357C-DBB3-468C-B87D-62F89AD1AD03}">
      <dsp:nvSpPr>
        <dsp:cNvPr id="0" name=""/>
        <dsp:cNvSpPr/>
      </dsp:nvSpPr>
      <dsp:spPr>
        <a:xfrm rot="2700000">
          <a:off x="5785141" y="3562803"/>
          <a:ext cx="462517" cy="5121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a-IR" sz="1600" kern="1200"/>
        </a:p>
      </dsp:txBody>
      <dsp:txXfrm>
        <a:off x="5805461" y="3616172"/>
        <a:ext cx="323762" cy="307276"/>
      </dsp:txXfrm>
    </dsp:sp>
    <dsp:sp modelId="{840A7DFF-49E0-4B7B-B756-D0D38030E190}">
      <dsp:nvSpPr>
        <dsp:cNvPr id="0" name=""/>
        <dsp:cNvSpPr/>
      </dsp:nvSpPr>
      <dsp:spPr>
        <a:xfrm>
          <a:off x="6135665" y="3938132"/>
          <a:ext cx="1355634" cy="1355634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cs typeface="B Titr" panose="00000700000000000000" pitchFamily="2" charset="-78"/>
            </a:rPr>
            <a:t>آمادگی محیطی</a:t>
          </a:r>
          <a:endParaRPr lang="fa-IR" sz="2000" kern="1200" dirty="0">
            <a:cs typeface="B Titr" panose="00000700000000000000" pitchFamily="2" charset="-78"/>
          </a:endParaRPr>
        </a:p>
      </dsp:txBody>
      <dsp:txXfrm>
        <a:off x="6334193" y="4136660"/>
        <a:ext cx="958578" cy="958578"/>
      </dsp:txXfrm>
    </dsp:sp>
    <dsp:sp modelId="{1033BA76-8646-4468-AC91-A9BD87F4BC25}">
      <dsp:nvSpPr>
        <dsp:cNvPr id="0" name=""/>
        <dsp:cNvSpPr/>
      </dsp:nvSpPr>
      <dsp:spPr>
        <a:xfrm rot="5400000">
          <a:off x="4953317" y="3907356"/>
          <a:ext cx="462517" cy="5121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cs typeface="B Titr" panose="00000700000000000000" pitchFamily="2" charset="-78"/>
          </a:endParaRPr>
        </a:p>
      </dsp:txBody>
      <dsp:txXfrm>
        <a:off x="5022695" y="3940405"/>
        <a:ext cx="323762" cy="307276"/>
      </dsp:txXfrm>
    </dsp:sp>
    <dsp:sp modelId="{397ABF42-2C49-4BA0-B88E-15BD0E3DB7C5}">
      <dsp:nvSpPr>
        <dsp:cNvPr id="0" name=""/>
        <dsp:cNvSpPr/>
      </dsp:nvSpPr>
      <dsp:spPr>
        <a:xfrm>
          <a:off x="4506758" y="4612847"/>
          <a:ext cx="1355634" cy="1355634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آمادگی تجهیزات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4705286" y="4811375"/>
        <a:ext cx="958578" cy="958578"/>
      </dsp:txXfrm>
    </dsp:sp>
    <dsp:sp modelId="{9F15C340-2BE3-478A-B957-35101C273FEA}">
      <dsp:nvSpPr>
        <dsp:cNvPr id="0" name=""/>
        <dsp:cNvSpPr/>
      </dsp:nvSpPr>
      <dsp:spPr>
        <a:xfrm rot="8100000">
          <a:off x="4121492" y="3562803"/>
          <a:ext cx="462517" cy="5121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cs typeface="B Titr" panose="00000700000000000000" pitchFamily="2" charset="-78"/>
          </a:endParaRPr>
        </a:p>
      </dsp:txBody>
      <dsp:txXfrm rot="10800000">
        <a:off x="4239927" y="3616172"/>
        <a:ext cx="323762" cy="307276"/>
      </dsp:txXfrm>
    </dsp:sp>
    <dsp:sp modelId="{CBD19B21-1C43-46A3-962F-0B2F24118901}">
      <dsp:nvSpPr>
        <dsp:cNvPr id="0" name=""/>
        <dsp:cNvSpPr/>
      </dsp:nvSpPr>
      <dsp:spPr>
        <a:xfrm>
          <a:off x="2877851" y="3938132"/>
          <a:ext cx="1355634" cy="135563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آمادگی محتوای آموزشی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3076379" y="4136660"/>
        <a:ext cx="958578" cy="958578"/>
      </dsp:txXfrm>
    </dsp:sp>
    <dsp:sp modelId="{97101A77-083F-400D-9763-059D110888FC}">
      <dsp:nvSpPr>
        <dsp:cNvPr id="0" name=""/>
        <dsp:cNvSpPr/>
      </dsp:nvSpPr>
      <dsp:spPr>
        <a:xfrm rot="10800000">
          <a:off x="3776940" y="2730979"/>
          <a:ext cx="462517" cy="512128"/>
        </a:xfrm>
        <a:prstGeom prst="rightArrow">
          <a:avLst>
            <a:gd name="adj1" fmla="val 60000"/>
            <a:gd name="adj2" fmla="val 50000"/>
          </a:avLst>
        </a:prstGeom>
        <a:solidFill>
          <a:srgbClr val="8D8B4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/>
        </a:p>
      </dsp:txBody>
      <dsp:txXfrm rot="10800000">
        <a:off x="3915695" y="2833405"/>
        <a:ext cx="323762" cy="307276"/>
      </dsp:txXfrm>
    </dsp:sp>
    <dsp:sp modelId="{70F9E6C6-F971-467A-A950-35C387B45D92}">
      <dsp:nvSpPr>
        <dsp:cNvPr id="0" name=""/>
        <dsp:cNvSpPr/>
      </dsp:nvSpPr>
      <dsp:spPr>
        <a:xfrm>
          <a:off x="2203136" y="2309226"/>
          <a:ext cx="1355634" cy="1355634"/>
        </a:xfrm>
        <a:prstGeom prst="ellipse">
          <a:avLst/>
        </a:prstGeom>
        <a:solidFill>
          <a:srgbClr val="8D8B45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آمادگی روانی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2401664" y="2507754"/>
        <a:ext cx="958578" cy="958578"/>
      </dsp:txXfrm>
    </dsp:sp>
    <dsp:sp modelId="{12052458-203A-47CC-9EDD-A2BD30910241}">
      <dsp:nvSpPr>
        <dsp:cNvPr id="0" name=""/>
        <dsp:cNvSpPr/>
      </dsp:nvSpPr>
      <dsp:spPr>
        <a:xfrm rot="13500000">
          <a:off x="4121492" y="1899154"/>
          <a:ext cx="462517" cy="512128"/>
        </a:xfrm>
        <a:prstGeom prst="rightArrow">
          <a:avLst>
            <a:gd name="adj1" fmla="val 60000"/>
            <a:gd name="adj2" fmla="val 50000"/>
          </a:avLst>
        </a:prstGeom>
        <a:solidFill>
          <a:srgbClr val="7030A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a-IR" sz="1600" kern="1200"/>
        </a:p>
      </dsp:txBody>
      <dsp:txXfrm rot="10800000">
        <a:off x="4239927" y="2050637"/>
        <a:ext cx="323762" cy="307276"/>
      </dsp:txXfrm>
    </dsp:sp>
    <dsp:sp modelId="{A46D70FB-36D2-4870-AA2A-FCF7CD1DA6B0}">
      <dsp:nvSpPr>
        <dsp:cNvPr id="0" name=""/>
        <dsp:cNvSpPr/>
      </dsp:nvSpPr>
      <dsp:spPr>
        <a:xfrm>
          <a:off x="2877851" y="680319"/>
          <a:ext cx="1355634" cy="1355634"/>
        </a:xfrm>
        <a:prstGeom prst="ellipse">
          <a:avLst/>
        </a:prstGeom>
        <a:solidFill>
          <a:srgbClr val="7030A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آمادگی مهارت‌های فنی</a:t>
          </a:r>
          <a:endParaRPr lang="en-US" sz="1800" kern="1200" dirty="0">
            <a:cs typeface="B Titr" panose="00000700000000000000" pitchFamily="2" charset="-78"/>
          </a:endParaRPr>
        </a:p>
      </dsp:txBody>
      <dsp:txXfrm>
        <a:off x="3076379" y="878847"/>
        <a:ext cx="958578" cy="95857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8ABC0E-2483-4CC6-96AE-AC82565637E7}">
      <dsp:nvSpPr>
        <dsp:cNvPr id="0" name=""/>
        <dsp:cNvSpPr/>
      </dsp:nvSpPr>
      <dsp:spPr>
        <a:xfrm>
          <a:off x="9600876" y="2160529"/>
          <a:ext cx="1497410" cy="3563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818"/>
              </a:lnTo>
              <a:lnTo>
                <a:pt x="1497410" y="242818"/>
              </a:lnTo>
              <a:lnTo>
                <a:pt x="1497410" y="356315"/>
              </a:lnTo>
            </a:path>
          </a:pathLst>
        </a:custGeom>
        <a:noFill/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634DD3-6219-4CCD-9474-F0708539E467}">
      <dsp:nvSpPr>
        <dsp:cNvPr id="0" name=""/>
        <dsp:cNvSpPr/>
      </dsp:nvSpPr>
      <dsp:spPr>
        <a:xfrm>
          <a:off x="9555156" y="2160529"/>
          <a:ext cx="91440" cy="35631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56315"/>
              </a:lnTo>
            </a:path>
          </a:pathLst>
        </a:custGeom>
        <a:noFill/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702B11-653A-4F70-A638-E8C4D0810E64}">
      <dsp:nvSpPr>
        <dsp:cNvPr id="0" name=""/>
        <dsp:cNvSpPr/>
      </dsp:nvSpPr>
      <dsp:spPr>
        <a:xfrm>
          <a:off x="8103465" y="2160529"/>
          <a:ext cx="1497410" cy="356315"/>
        </a:xfrm>
        <a:custGeom>
          <a:avLst/>
          <a:gdLst/>
          <a:ahLst/>
          <a:cxnLst/>
          <a:rect l="0" t="0" r="0" b="0"/>
          <a:pathLst>
            <a:path>
              <a:moveTo>
                <a:pt x="1497410" y="0"/>
              </a:moveTo>
              <a:lnTo>
                <a:pt x="1497410" y="242818"/>
              </a:lnTo>
              <a:lnTo>
                <a:pt x="0" y="242818"/>
              </a:lnTo>
              <a:lnTo>
                <a:pt x="0" y="356315"/>
              </a:lnTo>
            </a:path>
          </a:pathLst>
        </a:custGeom>
        <a:noFill/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76D925-D0A2-468E-B351-9EBBE6A70F7F}">
      <dsp:nvSpPr>
        <dsp:cNvPr id="0" name=""/>
        <dsp:cNvSpPr/>
      </dsp:nvSpPr>
      <dsp:spPr>
        <a:xfrm>
          <a:off x="5857348" y="1026240"/>
          <a:ext cx="3743527" cy="3563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818"/>
              </a:lnTo>
              <a:lnTo>
                <a:pt x="3743527" y="242818"/>
              </a:lnTo>
              <a:lnTo>
                <a:pt x="3743527" y="356315"/>
              </a:lnTo>
            </a:path>
          </a:pathLst>
        </a:custGeom>
        <a:noFill/>
        <a:ln w="190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35C8AF-1BDF-407B-A220-FC3412BEC290}">
      <dsp:nvSpPr>
        <dsp:cNvPr id="0" name=""/>
        <dsp:cNvSpPr/>
      </dsp:nvSpPr>
      <dsp:spPr>
        <a:xfrm>
          <a:off x="5857348" y="2160529"/>
          <a:ext cx="748705" cy="3563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818"/>
              </a:lnTo>
              <a:lnTo>
                <a:pt x="748705" y="242818"/>
              </a:lnTo>
              <a:lnTo>
                <a:pt x="748705" y="356315"/>
              </a:lnTo>
            </a:path>
          </a:pathLst>
        </a:custGeom>
        <a:noFill/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A17D191-D84C-450E-ACBC-DE8EEFCB0B32}">
      <dsp:nvSpPr>
        <dsp:cNvPr id="0" name=""/>
        <dsp:cNvSpPr/>
      </dsp:nvSpPr>
      <dsp:spPr>
        <a:xfrm>
          <a:off x="5108643" y="2160529"/>
          <a:ext cx="748705" cy="356315"/>
        </a:xfrm>
        <a:custGeom>
          <a:avLst/>
          <a:gdLst/>
          <a:ahLst/>
          <a:cxnLst/>
          <a:rect l="0" t="0" r="0" b="0"/>
          <a:pathLst>
            <a:path>
              <a:moveTo>
                <a:pt x="748705" y="0"/>
              </a:moveTo>
              <a:lnTo>
                <a:pt x="748705" y="242818"/>
              </a:lnTo>
              <a:lnTo>
                <a:pt x="0" y="242818"/>
              </a:lnTo>
              <a:lnTo>
                <a:pt x="0" y="356315"/>
              </a:lnTo>
            </a:path>
          </a:pathLst>
        </a:custGeom>
        <a:noFill/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852329-4845-4E08-AED6-A43F1DCC50CD}">
      <dsp:nvSpPr>
        <dsp:cNvPr id="0" name=""/>
        <dsp:cNvSpPr/>
      </dsp:nvSpPr>
      <dsp:spPr>
        <a:xfrm>
          <a:off x="5811628" y="1026240"/>
          <a:ext cx="91440" cy="35631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56315"/>
              </a:lnTo>
            </a:path>
          </a:pathLst>
        </a:custGeom>
        <a:noFill/>
        <a:ln w="190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8A7120-DA01-4E7C-884A-E3D8EE0F9D70}">
      <dsp:nvSpPr>
        <dsp:cNvPr id="0" name=""/>
        <dsp:cNvSpPr/>
      </dsp:nvSpPr>
      <dsp:spPr>
        <a:xfrm>
          <a:off x="2113821" y="2160529"/>
          <a:ext cx="1497410" cy="3563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818"/>
              </a:lnTo>
              <a:lnTo>
                <a:pt x="1497410" y="242818"/>
              </a:lnTo>
              <a:lnTo>
                <a:pt x="1497410" y="356315"/>
              </a:lnTo>
            </a:path>
          </a:pathLst>
        </a:custGeom>
        <a:noFill/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BCE74D-676D-4B69-B6CF-6FCC6365DC1C}">
      <dsp:nvSpPr>
        <dsp:cNvPr id="0" name=""/>
        <dsp:cNvSpPr/>
      </dsp:nvSpPr>
      <dsp:spPr>
        <a:xfrm>
          <a:off x="2068101" y="2160529"/>
          <a:ext cx="91440" cy="35631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56315"/>
              </a:lnTo>
            </a:path>
          </a:pathLst>
        </a:custGeom>
        <a:noFill/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2F957C-294F-451F-9C32-11AA6AE71E37}">
      <dsp:nvSpPr>
        <dsp:cNvPr id="0" name=""/>
        <dsp:cNvSpPr/>
      </dsp:nvSpPr>
      <dsp:spPr>
        <a:xfrm>
          <a:off x="616410" y="2160529"/>
          <a:ext cx="1497410" cy="356315"/>
        </a:xfrm>
        <a:custGeom>
          <a:avLst/>
          <a:gdLst/>
          <a:ahLst/>
          <a:cxnLst/>
          <a:rect l="0" t="0" r="0" b="0"/>
          <a:pathLst>
            <a:path>
              <a:moveTo>
                <a:pt x="1497410" y="0"/>
              </a:moveTo>
              <a:lnTo>
                <a:pt x="1497410" y="242818"/>
              </a:lnTo>
              <a:lnTo>
                <a:pt x="0" y="242818"/>
              </a:lnTo>
              <a:lnTo>
                <a:pt x="0" y="356315"/>
              </a:lnTo>
            </a:path>
          </a:pathLst>
        </a:custGeom>
        <a:noFill/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C4BC7E-CDF1-409E-80D5-C3523B217A41}">
      <dsp:nvSpPr>
        <dsp:cNvPr id="0" name=""/>
        <dsp:cNvSpPr/>
      </dsp:nvSpPr>
      <dsp:spPr>
        <a:xfrm>
          <a:off x="2113821" y="1026240"/>
          <a:ext cx="3743527" cy="356315"/>
        </a:xfrm>
        <a:custGeom>
          <a:avLst/>
          <a:gdLst/>
          <a:ahLst/>
          <a:cxnLst/>
          <a:rect l="0" t="0" r="0" b="0"/>
          <a:pathLst>
            <a:path>
              <a:moveTo>
                <a:pt x="3743527" y="0"/>
              </a:moveTo>
              <a:lnTo>
                <a:pt x="3743527" y="242818"/>
              </a:lnTo>
              <a:lnTo>
                <a:pt x="0" y="242818"/>
              </a:lnTo>
              <a:lnTo>
                <a:pt x="0" y="356315"/>
              </a:lnTo>
            </a:path>
          </a:pathLst>
        </a:custGeom>
        <a:noFill/>
        <a:ln w="190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9D9C4C-BE99-41C4-84AC-8E47C0BFC6DF}">
      <dsp:nvSpPr>
        <dsp:cNvPr id="0" name=""/>
        <dsp:cNvSpPr/>
      </dsp:nvSpPr>
      <dsp:spPr>
        <a:xfrm>
          <a:off x="3960436" y="248267"/>
          <a:ext cx="3793825" cy="77797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E706D5-AE02-47DC-A0E0-3AA2A745A424}">
      <dsp:nvSpPr>
        <dsp:cNvPr id="0" name=""/>
        <dsp:cNvSpPr/>
      </dsp:nvSpPr>
      <dsp:spPr>
        <a:xfrm>
          <a:off x="4096564" y="377589"/>
          <a:ext cx="3793825" cy="7779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000" kern="1200" dirty="0" smtClean="0">
              <a:cs typeface="B Titr" panose="00000700000000000000" pitchFamily="2" charset="-78"/>
            </a:rPr>
            <a:t>آمادگی یادگیری الکترونیکی</a:t>
          </a:r>
          <a:endParaRPr lang="fa-IR" sz="2000" kern="1200" dirty="0">
            <a:cs typeface="B Titr" panose="00000700000000000000" pitchFamily="2" charset="-78"/>
          </a:endParaRPr>
        </a:p>
      </dsp:txBody>
      <dsp:txXfrm>
        <a:off x="4119350" y="400375"/>
        <a:ext cx="3748253" cy="732401"/>
      </dsp:txXfrm>
    </dsp:sp>
    <dsp:sp modelId="{81BCC87C-DACD-48B1-8AF3-C1E8E02084EE}">
      <dsp:nvSpPr>
        <dsp:cNvPr id="0" name=""/>
        <dsp:cNvSpPr/>
      </dsp:nvSpPr>
      <dsp:spPr>
        <a:xfrm>
          <a:off x="1501244" y="1382556"/>
          <a:ext cx="1225154" cy="77797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284520-5964-4F2E-AB0F-0DEA62DE4D94}">
      <dsp:nvSpPr>
        <dsp:cNvPr id="0" name=""/>
        <dsp:cNvSpPr/>
      </dsp:nvSpPr>
      <dsp:spPr>
        <a:xfrm>
          <a:off x="1637372" y="1511878"/>
          <a:ext cx="1225154" cy="7779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400" kern="1200" dirty="0" smtClean="0">
              <a:cs typeface="B Titr" panose="00000700000000000000" pitchFamily="2" charset="-78"/>
            </a:rPr>
            <a:t>منابع</a:t>
          </a:r>
          <a:endParaRPr lang="fa-IR" sz="2000" kern="1200" dirty="0">
            <a:cs typeface="B Titr" panose="00000700000000000000" pitchFamily="2" charset="-78"/>
          </a:endParaRPr>
        </a:p>
      </dsp:txBody>
      <dsp:txXfrm>
        <a:off x="1660158" y="1534664"/>
        <a:ext cx="1179582" cy="732401"/>
      </dsp:txXfrm>
    </dsp:sp>
    <dsp:sp modelId="{B3F94C7B-A7E8-4188-8C60-58747A8B1375}">
      <dsp:nvSpPr>
        <dsp:cNvPr id="0" name=""/>
        <dsp:cNvSpPr/>
      </dsp:nvSpPr>
      <dsp:spPr>
        <a:xfrm>
          <a:off x="3833" y="2516845"/>
          <a:ext cx="1225154" cy="77797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242E8B-6F08-4D4E-BD33-14F96CF90498}">
      <dsp:nvSpPr>
        <dsp:cNvPr id="0" name=""/>
        <dsp:cNvSpPr/>
      </dsp:nvSpPr>
      <dsp:spPr>
        <a:xfrm>
          <a:off x="139961" y="2646167"/>
          <a:ext cx="1225154" cy="7779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600" kern="1200" dirty="0" smtClean="0">
              <a:cs typeface="B Titr" panose="00000700000000000000" pitchFamily="2" charset="-78"/>
            </a:rPr>
            <a:t>آمادگی فنّاورانه</a:t>
          </a:r>
          <a:endParaRPr lang="fa-IR" sz="1600" kern="1200" dirty="0">
            <a:cs typeface="B Titr" panose="00000700000000000000" pitchFamily="2" charset="-78"/>
          </a:endParaRPr>
        </a:p>
      </dsp:txBody>
      <dsp:txXfrm>
        <a:off x="162747" y="2668953"/>
        <a:ext cx="1179582" cy="732401"/>
      </dsp:txXfrm>
    </dsp:sp>
    <dsp:sp modelId="{32C07289-6431-40D0-9A55-FAC274406804}">
      <dsp:nvSpPr>
        <dsp:cNvPr id="0" name=""/>
        <dsp:cNvSpPr/>
      </dsp:nvSpPr>
      <dsp:spPr>
        <a:xfrm>
          <a:off x="1501244" y="2516845"/>
          <a:ext cx="1225154" cy="77797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B8A855-7F32-4851-BC97-E57C037DF814}">
      <dsp:nvSpPr>
        <dsp:cNvPr id="0" name=""/>
        <dsp:cNvSpPr/>
      </dsp:nvSpPr>
      <dsp:spPr>
        <a:xfrm>
          <a:off x="1637372" y="2646167"/>
          <a:ext cx="1225154" cy="7779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600" kern="1200" dirty="0" smtClean="0">
              <a:cs typeface="B Titr" panose="00000700000000000000" pitchFamily="2" charset="-78"/>
            </a:rPr>
            <a:t>آمادگی مالی</a:t>
          </a:r>
          <a:endParaRPr lang="fa-IR" sz="1600" kern="1200" dirty="0">
            <a:cs typeface="B Titr" panose="00000700000000000000" pitchFamily="2" charset="-78"/>
          </a:endParaRPr>
        </a:p>
      </dsp:txBody>
      <dsp:txXfrm>
        <a:off x="1660158" y="2668953"/>
        <a:ext cx="1179582" cy="732401"/>
      </dsp:txXfrm>
    </dsp:sp>
    <dsp:sp modelId="{A2FAAA21-CC09-45F8-AB02-954EEDAD7D2D}">
      <dsp:nvSpPr>
        <dsp:cNvPr id="0" name=""/>
        <dsp:cNvSpPr/>
      </dsp:nvSpPr>
      <dsp:spPr>
        <a:xfrm>
          <a:off x="2998655" y="2516845"/>
          <a:ext cx="1225154" cy="77797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C53CB4-E6FD-4EB3-97D7-E0DFC72E779E}">
      <dsp:nvSpPr>
        <dsp:cNvPr id="0" name=""/>
        <dsp:cNvSpPr/>
      </dsp:nvSpPr>
      <dsp:spPr>
        <a:xfrm>
          <a:off x="3134783" y="2646167"/>
          <a:ext cx="1225154" cy="7779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600" kern="1200" dirty="0" smtClean="0">
              <a:cs typeface="B Titr" panose="00000700000000000000" pitchFamily="2" charset="-78"/>
            </a:rPr>
            <a:t>آمادگی منابع انسانی</a:t>
          </a:r>
          <a:endParaRPr lang="fa-IR" sz="1600" kern="1200" dirty="0">
            <a:cs typeface="B Titr" panose="00000700000000000000" pitchFamily="2" charset="-78"/>
          </a:endParaRPr>
        </a:p>
      </dsp:txBody>
      <dsp:txXfrm>
        <a:off x="3157569" y="2668953"/>
        <a:ext cx="1179582" cy="732401"/>
      </dsp:txXfrm>
    </dsp:sp>
    <dsp:sp modelId="{4312C00F-1E39-46EB-B7B8-606C3647F7D4}">
      <dsp:nvSpPr>
        <dsp:cNvPr id="0" name=""/>
        <dsp:cNvSpPr/>
      </dsp:nvSpPr>
      <dsp:spPr>
        <a:xfrm>
          <a:off x="5244771" y="1382556"/>
          <a:ext cx="1225154" cy="77797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6A27CF-9031-4D07-9434-CD590A07C207}">
      <dsp:nvSpPr>
        <dsp:cNvPr id="0" name=""/>
        <dsp:cNvSpPr/>
      </dsp:nvSpPr>
      <dsp:spPr>
        <a:xfrm>
          <a:off x="5380899" y="1511878"/>
          <a:ext cx="1225154" cy="7779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400" kern="1200" dirty="0" smtClean="0">
              <a:cs typeface="B Titr" panose="00000700000000000000" pitchFamily="2" charset="-78"/>
            </a:rPr>
            <a:t>آموزش</a:t>
          </a:r>
          <a:endParaRPr lang="fa-IR" sz="2000" kern="1200" dirty="0">
            <a:cs typeface="B Titr" panose="00000700000000000000" pitchFamily="2" charset="-78"/>
          </a:endParaRPr>
        </a:p>
      </dsp:txBody>
      <dsp:txXfrm>
        <a:off x="5403685" y="1534664"/>
        <a:ext cx="1179582" cy="732401"/>
      </dsp:txXfrm>
    </dsp:sp>
    <dsp:sp modelId="{96A96E2D-A99F-41E8-92F4-E31043F9211F}">
      <dsp:nvSpPr>
        <dsp:cNvPr id="0" name=""/>
        <dsp:cNvSpPr/>
      </dsp:nvSpPr>
      <dsp:spPr>
        <a:xfrm>
          <a:off x="4496066" y="2516845"/>
          <a:ext cx="1225154" cy="77797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1AD609-3B43-4039-BAD7-03CBF72E61A7}">
      <dsp:nvSpPr>
        <dsp:cNvPr id="0" name=""/>
        <dsp:cNvSpPr/>
      </dsp:nvSpPr>
      <dsp:spPr>
        <a:xfrm>
          <a:off x="4632194" y="2646167"/>
          <a:ext cx="1225154" cy="7779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600" kern="1200" dirty="0" smtClean="0">
              <a:cs typeface="B Titr" panose="00000700000000000000" pitchFamily="2" charset="-78"/>
            </a:rPr>
            <a:t>آمادگی محتوا</a:t>
          </a:r>
          <a:endParaRPr lang="fa-IR" sz="1600" kern="1200" dirty="0">
            <a:cs typeface="B Titr" panose="00000700000000000000" pitchFamily="2" charset="-78"/>
          </a:endParaRPr>
        </a:p>
      </dsp:txBody>
      <dsp:txXfrm>
        <a:off x="4654980" y="2668953"/>
        <a:ext cx="1179582" cy="732401"/>
      </dsp:txXfrm>
    </dsp:sp>
    <dsp:sp modelId="{7F01716B-44B2-47B1-B0F0-5EC1F7B795D8}">
      <dsp:nvSpPr>
        <dsp:cNvPr id="0" name=""/>
        <dsp:cNvSpPr/>
      </dsp:nvSpPr>
      <dsp:spPr>
        <a:xfrm>
          <a:off x="5993477" y="2516845"/>
          <a:ext cx="1225154" cy="77797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8D3BE7-D9D6-43DF-A18A-B1A212C5EF6F}">
      <dsp:nvSpPr>
        <dsp:cNvPr id="0" name=""/>
        <dsp:cNvSpPr/>
      </dsp:nvSpPr>
      <dsp:spPr>
        <a:xfrm>
          <a:off x="6129605" y="2646167"/>
          <a:ext cx="1225154" cy="7779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600" kern="1200" dirty="0" smtClean="0">
              <a:cs typeface="B Titr" panose="00000700000000000000" pitchFamily="2" charset="-78"/>
            </a:rPr>
            <a:t>آمادگی آموزشی</a:t>
          </a:r>
          <a:endParaRPr lang="fa-IR" sz="1600" kern="1200" dirty="0">
            <a:cs typeface="B Titr" panose="00000700000000000000" pitchFamily="2" charset="-78"/>
          </a:endParaRPr>
        </a:p>
      </dsp:txBody>
      <dsp:txXfrm>
        <a:off x="6152391" y="2668953"/>
        <a:ext cx="1179582" cy="732401"/>
      </dsp:txXfrm>
    </dsp:sp>
    <dsp:sp modelId="{EC61AB9B-98B5-44F3-9ABF-9038228686A0}">
      <dsp:nvSpPr>
        <dsp:cNvPr id="0" name=""/>
        <dsp:cNvSpPr/>
      </dsp:nvSpPr>
      <dsp:spPr>
        <a:xfrm>
          <a:off x="8988298" y="1382556"/>
          <a:ext cx="1225154" cy="77797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A32073-CF6E-4515-B31C-C147CF41CAA1}">
      <dsp:nvSpPr>
        <dsp:cNvPr id="0" name=""/>
        <dsp:cNvSpPr/>
      </dsp:nvSpPr>
      <dsp:spPr>
        <a:xfrm>
          <a:off x="9124427" y="1511878"/>
          <a:ext cx="1225154" cy="7779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2400" kern="1200" dirty="0" smtClean="0">
              <a:cs typeface="B Titr" panose="00000700000000000000" pitchFamily="2" charset="-78"/>
            </a:rPr>
            <a:t>محیط</a:t>
          </a:r>
          <a:endParaRPr lang="fa-IR" sz="2800" kern="1200" dirty="0">
            <a:cs typeface="B Titr" panose="00000700000000000000" pitchFamily="2" charset="-78"/>
          </a:endParaRPr>
        </a:p>
      </dsp:txBody>
      <dsp:txXfrm>
        <a:off x="9147213" y="1534664"/>
        <a:ext cx="1179582" cy="732401"/>
      </dsp:txXfrm>
    </dsp:sp>
    <dsp:sp modelId="{226A990A-9FE1-4A36-9F30-0247B538EEE6}">
      <dsp:nvSpPr>
        <dsp:cNvPr id="0" name=""/>
        <dsp:cNvSpPr/>
      </dsp:nvSpPr>
      <dsp:spPr>
        <a:xfrm>
          <a:off x="7490888" y="2516845"/>
          <a:ext cx="1225154" cy="77797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70B229-CBD3-4D0B-AC88-20E27B212B15}">
      <dsp:nvSpPr>
        <dsp:cNvPr id="0" name=""/>
        <dsp:cNvSpPr/>
      </dsp:nvSpPr>
      <dsp:spPr>
        <a:xfrm>
          <a:off x="7627016" y="2646167"/>
          <a:ext cx="1225154" cy="7779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600" kern="1200" dirty="0" smtClean="0">
              <a:cs typeface="B Titr" panose="00000700000000000000" pitchFamily="2" charset="-78"/>
            </a:rPr>
            <a:t>آمادگی کارآفرینی</a:t>
          </a:r>
          <a:endParaRPr lang="fa-IR" sz="1600" kern="1200" dirty="0">
            <a:cs typeface="B Titr" panose="00000700000000000000" pitchFamily="2" charset="-78"/>
          </a:endParaRPr>
        </a:p>
      </dsp:txBody>
      <dsp:txXfrm>
        <a:off x="7649802" y="2668953"/>
        <a:ext cx="1179582" cy="732401"/>
      </dsp:txXfrm>
    </dsp:sp>
    <dsp:sp modelId="{7CD2265F-B234-4B38-A43E-6F94081B5B6B}">
      <dsp:nvSpPr>
        <dsp:cNvPr id="0" name=""/>
        <dsp:cNvSpPr/>
      </dsp:nvSpPr>
      <dsp:spPr>
        <a:xfrm>
          <a:off x="8988298" y="2516845"/>
          <a:ext cx="1225154" cy="77797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B72931-7ECD-47E1-A27F-FFA2D2B4B7D0}">
      <dsp:nvSpPr>
        <dsp:cNvPr id="0" name=""/>
        <dsp:cNvSpPr/>
      </dsp:nvSpPr>
      <dsp:spPr>
        <a:xfrm>
          <a:off x="9124427" y="2646167"/>
          <a:ext cx="1225154" cy="7779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800" kern="1200" dirty="0" smtClean="0">
              <a:cs typeface="B Titr" panose="00000700000000000000" pitchFamily="2" charset="-78"/>
            </a:rPr>
            <a:t>آمادگی رهبری</a:t>
          </a:r>
          <a:endParaRPr lang="fa-IR" sz="1800" kern="1200" dirty="0">
            <a:cs typeface="B Titr" panose="00000700000000000000" pitchFamily="2" charset="-78"/>
          </a:endParaRPr>
        </a:p>
      </dsp:txBody>
      <dsp:txXfrm>
        <a:off x="9147213" y="2668953"/>
        <a:ext cx="1179582" cy="732401"/>
      </dsp:txXfrm>
    </dsp:sp>
    <dsp:sp modelId="{D3E62B0F-878A-409E-9C23-90BCB580D1EC}">
      <dsp:nvSpPr>
        <dsp:cNvPr id="0" name=""/>
        <dsp:cNvSpPr/>
      </dsp:nvSpPr>
      <dsp:spPr>
        <a:xfrm>
          <a:off x="10485709" y="2516845"/>
          <a:ext cx="1225154" cy="77797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5331F5-4406-44C6-8EBF-281FFDEA5104}">
      <dsp:nvSpPr>
        <dsp:cNvPr id="0" name=""/>
        <dsp:cNvSpPr/>
      </dsp:nvSpPr>
      <dsp:spPr>
        <a:xfrm>
          <a:off x="10621838" y="2646167"/>
          <a:ext cx="1225154" cy="7779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a-IR" sz="1400" kern="1200" dirty="0" smtClean="0">
              <a:cs typeface="B Titr" panose="00000700000000000000" pitchFamily="2" charset="-78"/>
            </a:rPr>
            <a:t>آمادگی فرهنگی برای سازمان و کارکنان</a:t>
          </a:r>
          <a:endParaRPr lang="fa-IR" sz="1400" kern="1200" dirty="0">
            <a:cs typeface="B Titr" panose="00000700000000000000" pitchFamily="2" charset="-78"/>
          </a:endParaRPr>
        </a:p>
      </dsp:txBody>
      <dsp:txXfrm>
        <a:off x="10644624" y="2668953"/>
        <a:ext cx="1179582" cy="73240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EA33B4B9-AFB0-43EB-82AF-ED70AC262E4F}" type="datetimeFigureOut">
              <a:rPr lang="en-US" smtClean="0"/>
              <a:pPr/>
              <a:t>2/2/2020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6472C8F-9949-4688-BFEB-F813D79CFC0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992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3D31E77A-DD07-4A76-801D-B4BF4990C412}" type="datetimeFigureOut">
              <a:rPr lang="en-US" smtClean="0"/>
              <a:pPr/>
              <a:t>2/2/2020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42875" y="768350"/>
            <a:ext cx="6818313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CA3AB2B-189A-4C92-A457-C6A3833631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8983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F7A59-3251-40FF-B9E9-BB882E003890}" type="slidenum">
              <a:rPr 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9</a:t>
            </a:fld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3227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 panose="020F0502020204030204" pitchFamily="34" charset="0"/>
              </a:rPr>
              <a:pPr defTabSz="990752">
                <a:defRPr/>
              </a:pPr>
              <a:t>18</a:t>
            </a:fld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0533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 panose="020F0502020204030204" pitchFamily="34" charset="0"/>
              </a:rPr>
              <a:pPr defTabSz="990752">
                <a:defRPr/>
              </a:pPr>
              <a:t>19</a:t>
            </a:fld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2265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 panose="020F0502020204030204" pitchFamily="34" charset="0"/>
              </a:rPr>
              <a:pPr defTabSz="990752">
                <a:defRPr/>
              </a:pPr>
              <a:t>20</a:t>
            </a:fld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71279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 panose="020F0502020204030204" pitchFamily="34" charset="0"/>
              </a:rPr>
              <a:pPr defTabSz="990752">
                <a:defRPr/>
              </a:pPr>
              <a:t>21</a:t>
            </a:fld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0579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/>
              </a:rPr>
              <a:pPr defTabSz="990752">
                <a:defRPr/>
              </a:pPr>
              <a:t>2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027227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/>
              </a:rPr>
              <a:pPr defTabSz="990752">
                <a:defRPr/>
              </a:pPr>
              <a:t>23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004175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F7A59-3251-40FF-B9E9-BB882E003890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5327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/>
              </a:rPr>
              <a:pPr defTabSz="990752">
                <a:defRPr/>
              </a:pPr>
              <a:t>25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804870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/>
              </a:rPr>
              <a:pPr defTabSz="990752">
                <a:defRPr/>
              </a:pPr>
              <a:t>26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83390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/>
              </a:rPr>
              <a:pPr defTabSz="990752">
                <a:defRPr/>
              </a:pPr>
              <a:t>27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648600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 panose="020F0502020204030204" pitchFamily="34" charset="0"/>
              </a:rPr>
              <a:pPr defTabSz="990752">
                <a:defRPr/>
              </a:pPr>
              <a:t>10</a:t>
            </a:fld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2403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 panose="020F0502020204030204" pitchFamily="34" charset="0"/>
              </a:rPr>
              <a:pPr defTabSz="990752">
                <a:defRPr/>
              </a:pPr>
              <a:t>11</a:t>
            </a:fld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724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4F7A59-3251-40FF-B9E9-BB882E00389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0871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4F7A59-3251-40FF-B9E9-BB882E00389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043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4F7A59-3251-40FF-B9E9-BB882E00389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077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 panose="020F0502020204030204" pitchFamily="34" charset="0"/>
              </a:rPr>
              <a:pPr defTabSz="990752">
                <a:defRPr/>
              </a:pPr>
              <a:t>15</a:t>
            </a:fld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8843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54F7A59-3251-40FF-B9E9-BB882E003890}" type="slidenum">
              <a:rPr lang="en-US">
                <a:solidFill>
                  <a:prstClr val="black"/>
                </a:solidFill>
                <a:latin typeface="Calibri" panose="020F0502020204030204" pitchFamily="34" charset="0"/>
              </a:rPr>
              <a:pPr defTabSz="990752">
                <a:defRPr/>
              </a:pPr>
              <a:t>16</a:t>
            </a:fld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94292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4F7A59-3251-40FF-B9E9-BB882E00389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720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Blue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 rot="16200000">
            <a:off x="2667000" y="-2667000"/>
            <a:ext cx="6858000" cy="12192000"/>
            <a:chOff x="-9129713" y="-762000"/>
            <a:chExt cx="21321713" cy="7620000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3475037" y="-762000"/>
              <a:ext cx="1019175" cy="4297363"/>
            </a:xfrm>
            <a:custGeom>
              <a:avLst/>
              <a:gdLst>
                <a:gd name="T0" fmla="*/ 0 w 2569"/>
                <a:gd name="T1" fmla="*/ 0 h 21654"/>
                <a:gd name="T2" fmla="*/ 0 w 2569"/>
                <a:gd name="T3" fmla="*/ 21654 h 21654"/>
                <a:gd name="T4" fmla="*/ 2 w 2569"/>
                <a:gd name="T5" fmla="*/ 21654 h 21654"/>
                <a:gd name="T6" fmla="*/ 2569 w 2569"/>
                <a:gd name="T7" fmla="*/ 19583 h 21654"/>
                <a:gd name="T8" fmla="*/ 2569 w 2569"/>
                <a:gd name="T9" fmla="*/ 0 h 21654"/>
                <a:gd name="T10" fmla="*/ 0 w 2569"/>
                <a:gd name="T11" fmla="*/ 0 h 2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9" h="21654">
                  <a:moveTo>
                    <a:pt x="0" y="0"/>
                  </a:moveTo>
                  <a:lnTo>
                    <a:pt x="0" y="21654"/>
                  </a:lnTo>
                  <a:lnTo>
                    <a:pt x="2" y="21654"/>
                  </a:lnTo>
                  <a:lnTo>
                    <a:pt x="2569" y="19583"/>
                  </a:lnTo>
                  <a:lnTo>
                    <a:pt x="256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4494212" y="-762000"/>
              <a:ext cx="3359150" cy="3886200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3475037" y="3124200"/>
              <a:ext cx="1019175" cy="3733800"/>
            </a:xfrm>
            <a:custGeom>
              <a:avLst/>
              <a:gdLst>
                <a:gd name="T0" fmla="*/ 2569 w 2569"/>
                <a:gd name="T1" fmla="*/ 0 h 18816"/>
                <a:gd name="T2" fmla="*/ 2 w 2569"/>
                <a:gd name="T3" fmla="*/ 2071 h 18816"/>
                <a:gd name="T4" fmla="*/ 0 w 2569"/>
                <a:gd name="T5" fmla="*/ 2071 h 18816"/>
                <a:gd name="T6" fmla="*/ 0 w 2569"/>
                <a:gd name="T7" fmla="*/ 18816 h 18816"/>
                <a:gd name="T8" fmla="*/ 2 w 2569"/>
                <a:gd name="T9" fmla="*/ 18816 h 18816"/>
                <a:gd name="T10" fmla="*/ 2569 w 2569"/>
                <a:gd name="T11" fmla="*/ 18816 h 18816"/>
                <a:gd name="T12" fmla="*/ 2569 w 2569"/>
                <a:gd name="T13" fmla="*/ 8337 h 18816"/>
                <a:gd name="T14" fmla="*/ 2569 w 2569"/>
                <a:gd name="T15" fmla="*/ 0 h 18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9" h="18816">
                  <a:moveTo>
                    <a:pt x="2569" y="0"/>
                  </a:moveTo>
                  <a:lnTo>
                    <a:pt x="2" y="2071"/>
                  </a:lnTo>
                  <a:lnTo>
                    <a:pt x="0" y="2071"/>
                  </a:lnTo>
                  <a:lnTo>
                    <a:pt x="0" y="18816"/>
                  </a:lnTo>
                  <a:lnTo>
                    <a:pt x="2" y="18816"/>
                  </a:lnTo>
                  <a:lnTo>
                    <a:pt x="2569" y="18816"/>
                  </a:lnTo>
                  <a:lnTo>
                    <a:pt x="2569" y="8337"/>
                  </a:lnTo>
                  <a:lnTo>
                    <a:pt x="2569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4494212" y="3124200"/>
              <a:ext cx="3359150" cy="3733800"/>
            </a:xfrm>
            <a:custGeom>
              <a:avLst/>
              <a:gdLst>
                <a:gd name="T0" fmla="*/ 8461 w 8461"/>
                <a:gd name="T1" fmla="*/ 0 h 18816"/>
                <a:gd name="T2" fmla="*/ 0 w 8461"/>
                <a:gd name="T3" fmla="*/ 0 h 18816"/>
                <a:gd name="T4" fmla="*/ 0 w 8461"/>
                <a:gd name="T5" fmla="*/ 8337 h 18816"/>
                <a:gd name="T6" fmla="*/ 0 w 8461"/>
                <a:gd name="T7" fmla="*/ 18816 h 18816"/>
                <a:gd name="T8" fmla="*/ 8461 w 8461"/>
                <a:gd name="T9" fmla="*/ 18816 h 18816"/>
                <a:gd name="T10" fmla="*/ 8461 w 8461"/>
                <a:gd name="T11" fmla="*/ 8337 h 18816"/>
                <a:gd name="T12" fmla="*/ 8461 w 8461"/>
                <a:gd name="T13" fmla="*/ 0 h 18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61" h="18816">
                  <a:moveTo>
                    <a:pt x="8461" y="0"/>
                  </a:moveTo>
                  <a:lnTo>
                    <a:pt x="0" y="0"/>
                  </a:lnTo>
                  <a:lnTo>
                    <a:pt x="0" y="8337"/>
                  </a:lnTo>
                  <a:lnTo>
                    <a:pt x="0" y="18816"/>
                  </a:lnTo>
                  <a:lnTo>
                    <a:pt x="8461" y="18816"/>
                  </a:lnTo>
                  <a:lnTo>
                    <a:pt x="8461" y="8337"/>
                  </a:lnTo>
                  <a:lnTo>
                    <a:pt x="8461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3362" y="-762000"/>
              <a:ext cx="1008063" cy="3886200"/>
            </a:xfrm>
            <a:custGeom>
              <a:avLst/>
              <a:gdLst>
                <a:gd name="T0" fmla="*/ 0 w 2541"/>
                <a:gd name="T1" fmla="*/ 19583 h 19583"/>
                <a:gd name="T2" fmla="*/ 2 w 2541"/>
                <a:gd name="T3" fmla="*/ 19583 h 19583"/>
                <a:gd name="T4" fmla="*/ 2541 w 2541"/>
                <a:gd name="T5" fmla="*/ 17478 h 19583"/>
                <a:gd name="T6" fmla="*/ 2541 w 2541"/>
                <a:gd name="T7" fmla="*/ 0 h 19583"/>
                <a:gd name="T8" fmla="*/ 0 w 2541"/>
                <a:gd name="T9" fmla="*/ 0 h 19583"/>
                <a:gd name="T10" fmla="*/ 0 w 2541"/>
                <a:gd name="T11" fmla="*/ 19583 h 19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41" h="19583">
                  <a:moveTo>
                    <a:pt x="0" y="19583"/>
                  </a:moveTo>
                  <a:lnTo>
                    <a:pt x="2" y="19583"/>
                  </a:lnTo>
                  <a:lnTo>
                    <a:pt x="2541" y="17478"/>
                  </a:lnTo>
                  <a:lnTo>
                    <a:pt x="2541" y="0"/>
                  </a:lnTo>
                  <a:lnTo>
                    <a:pt x="0" y="0"/>
                  </a:lnTo>
                  <a:lnTo>
                    <a:pt x="0" y="195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7853362" y="2706687"/>
              <a:ext cx="1008063" cy="4151313"/>
            </a:xfrm>
            <a:custGeom>
              <a:avLst/>
              <a:gdLst>
                <a:gd name="T0" fmla="*/ 2541 w 2541"/>
                <a:gd name="T1" fmla="*/ 0 h 20921"/>
                <a:gd name="T2" fmla="*/ 2 w 2541"/>
                <a:gd name="T3" fmla="*/ 2105 h 20921"/>
                <a:gd name="T4" fmla="*/ 0 w 2541"/>
                <a:gd name="T5" fmla="*/ 2105 h 20921"/>
                <a:gd name="T6" fmla="*/ 0 w 2541"/>
                <a:gd name="T7" fmla="*/ 10442 h 20921"/>
                <a:gd name="T8" fmla="*/ 0 w 2541"/>
                <a:gd name="T9" fmla="*/ 20921 h 20921"/>
                <a:gd name="T10" fmla="*/ 2541 w 2541"/>
                <a:gd name="T11" fmla="*/ 20921 h 20921"/>
                <a:gd name="T12" fmla="*/ 2541 w 2541"/>
                <a:gd name="T13" fmla="*/ 4176 h 20921"/>
                <a:gd name="T14" fmla="*/ 2541 w 2541"/>
                <a:gd name="T15" fmla="*/ 0 h 20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41" h="20921">
                  <a:moveTo>
                    <a:pt x="2541" y="0"/>
                  </a:moveTo>
                  <a:lnTo>
                    <a:pt x="2" y="2105"/>
                  </a:lnTo>
                  <a:lnTo>
                    <a:pt x="0" y="2105"/>
                  </a:lnTo>
                  <a:lnTo>
                    <a:pt x="0" y="10442"/>
                  </a:lnTo>
                  <a:lnTo>
                    <a:pt x="0" y="20921"/>
                  </a:lnTo>
                  <a:lnTo>
                    <a:pt x="2541" y="20921"/>
                  </a:lnTo>
                  <a:lnTo>
                    <a:pt x="2541" y="4176"/>
                  </a:lnTo>
                  <a:lnTo>
                    <a:pt x="2541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Rectangle 11"/>
            <p:cNvSpPr>
              <a:spLocks noChangeArrowheads="1"/>
            </p:cNvSpPr>
            <p:nvPr/>
          </p:nvSpPr>
          <p:spPr bwMode="auto">
            <a:xfrm>
              <a:off x="8861425" y="-762000"/>
              <a:ext cx="3330575" cy="3468688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-2317750" y="-762000"/>
              <a:ext cx="5792788" cy="4297363"/>
            </a:xfrm>
            <a:custGeom>
              <a:avLst/>
              <a:gdLst>
                <a:gd name="T0" fmla="*/ 0 w 14597"/>
                <a:gd name="T1" fmla="*/ 0 h 21654"/>
                <a:gd name="T2" fmla="*/ 0 w 14597"/>
                <a:gd name="T3" fmla="*/ 21620 h 21654"/>
                <a:gd name="T4" fmla="*/ 0 w 14597"/>
                <a:gd name="T5" fmla="*/ 21654 h 21654"/>
                <a:gd name="T6" fmla="*/ 14597 w 14597"/>
                <a:gd name="T7" fmla="*/ 21654 h 21654"/>
                <a:gd name="T8" fmla="*/ 14597 w 14597"/>
                <a:gd name="T9" fmla="*/ 0 h 21654"/>
                <a:gd name="T10" fmla="*/ 0 w 14597"/>
                <a:gd name="T11" fmla="*/ 0 h 2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97" h="21654">
                  <a:moveTo>
                    <a:pt x="0" y="0"/>
                  </a:moveTo>
                  <a:lnTo>
                    <a:pt x="0" y="21620"/>
                  </a:lnTo>
                  <a:lnTo>
                    <a:pt x="0" y="21654"/>
                  </a:lnTo>
                  <a:lnTo>
                    <a:pt x="14597" y="21654"/>
                  </a:lnTo>
                  <a:lnTo>
                    <a:pt x="14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-2317750" y="3535362"/>
              <a:ext cx="5792788" cy="3322638"/>
            </a:xfrm>
            <a:custGeom>
              <a:avLst/>
              <a:gdLst>
                <a:gd name="T0" fmla="*/ 0 w 14597"/>
                <a:gd name="T1" fmla="*/ 0 h 16745"/>
                <a:gd name="T2" fmla="*/ 0 w 14597"/>
                <a:gd name="T3" fmla="*/ 4076 h 16745"/>
                <a:gd name="T4" fmla="*/ 0 w 14597"/>
                <a:gd name="T5" fmla="*/ 6135 h 16745"/>
                <a:gd name="T6" fmla="*/ 0 w 14597"/>
                <a:gd name="T7" fmla="*/ 16745 h 16745"/>
                <a:gd name="T8" fmla="*/ 14597 w 14597"/>
                <a:gd name="T9" fmla="*/ 16745 h 16745"/>
                <a:gd name="T10" fmla="*/ 14597 w 14597"/>
                <a:gd name="T11" fmla="*/ 0 h 16745"/>
                <a:gd name="T12" fmla="*/ 0 w 14597"/>
                <a:gd name="T13" fmla="*/ 0 h 16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97" h="16745">
                  <a:moveTo>
                    <a:pt x="0" y="0"/>
                  </a:moveTo>
                  <a:lnTo>
                    <a:pt x="0" y="4076"/>
                  </a:lnTo>
                  <a:lnTo>
                    <a:pt x="0" y="6135"/>
                  </a:lnTo>
                  <a:lnTo>
                    <a:pt x="0" y="16745"/>
                  </a:lnTo>
                  <a:lnTo>
                    <a:pt x="14597" y="16745"/>
                  </a:lnTo>
                  <a:lnTo>
                    <a:pt x="14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-9129713" y="4752975"/>
              <a:ext cx="5792788" cy="2105025"/>
            </a:xfrm>
            <a:custGeom>
              <a:avLst/>
              <a:gdLst>
                <a:gd name="T0" fmla="*/ 14596 w 14596"/>
                <a:gd name="T1" fmla="*/ 0 h 10610"/>
                <a:gd name="T2" fmla="*/ 0 w 14596"/>
                <a:gd name="T3" fmla="*/ 0 h 10610"/>
                <a:gd name="T4" fmla="*/ 0 w 14596"/>
                <a:gd name="T5" fmla="*/ 10610 h 10610"/>
                <a:gd name="T6" fmla="*/ 14596 w 14596"/>
                <a:gd name="T7" fmla="*/ 10610 h 10610"/>
                <a:gd name="T8" fmla="*/ 14596 w 14596"/>
                <a:gd name="T9" fmla="*/ 13 h 10610"/>
                <a:gd name="T10" fmla="*/ 14596 w 14596"/>
                <a:gd name="T11" fmla="*/ 0 h 10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96" h="10610">
                  <a:moveTo>
                    <a:pt x="14596" y="0"/>
                  </a:moveTo>
                  <a:lnTo>
                    <a:pt x="0" y="0"/>
                  </a:lnTo>
                  <a:lnTo>
                    <a:pt x="0" y="10610"/>
                  </a:lnTo>
                  <a:lnTo>
                    <a:pt x="14596" y="10610"/>
                  </a:lnTo>
                  <a:lnTo>
                    <a:pt x="14596" y="13"/>
                  </a:lnTo>
                  <a:lnTo>
                    <a:pt x="14596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-3336925" y="-762000"/>
              <a:ext cx="1019175" cy="5514975"/>
            </a:xfrm>
            <a:custGeom>
              <a:avLst/>
              <a:gdLst>
                <a:gd name="T0" fmla="*/ 0 w 2568"/>
                <a:gd name="T1" fmla="*/ 0 h 27789"/>
                <a:gd name="T2" fmla="*/ 0 w 2568"/>
                <a:gd name="T3" fmla="*/ 27789 h 27789"/>
                <a:gd name="T4" fmla="*/ 2 w 2568"/>
                <a:gd name="T5" fmla="*/ 27789 h 27789"/>
                <a:gd name="T6" fmla="*/ 2568 w 2568"/>
                <a:gd name="T7" fmla="*/ 21620 h 27789"/>
                <a:gd name="T8" fmla="*/ 2568 w 2568"/>
                <a:gd name="T9" fmla="*/ 0 h 27789"/>
                <a:gd name="T10" fmla="*/ 0 w 2568"/>
                <a:gd name="T11" fmla="*/ 0 h 27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8" h="27789">
                  <a:moveTo>
                    <a:pt x="0" y="0"/>
                  </a:moveTo>
                  <a:lnTo>
                    <a:pt x="0" y="27789"/>
                  </a:lnTo>
                  <a:lnTo>
                    <a:pt x="2" y="27789"/>
                  </a:lnTo>
                  <a:lnTo>
                    <a:pt x="2568" y="21620"/>
                  </a:lnTo>
                  <a:lnTo>
                    <a:pt x="256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-3336925" y="3529012"/>
              <a:ext cx="1019175" cy="3328988"/>
            </a:xfrm>
            <a:custGeom>
              <a:avLst/>
              <a:gdLst>
                <a:gd name="T0" fmla="*/ 2568 w 2568"/>
                <a:gd name="T1" fmla="*/ 4110 h 16779"/>
                <a:gd name="T2" fmla="*/ 2568 w 2568"/>
                <a:gd name="T3" fmla="*/ 34 h 16779"/>
                <a:gd name="T4" fmla="*/ 2568 w 2568"/>
                <a:gd name="T5" fmla="*/ 0 h 16779"/>
                <a:gd name="T6" fmla="*/ 2 w 2568"/>
                <a:gd name="T7" fmla="*/ 6169 h 16779"/>
                <a:gd name="T8" fmla="*/ 19 w 2568"/>
                <a:gd name="T9" fmla="*/ 6169 h 16779"/>
                <a:gd name="T10" fmla="*/ 2 w 2568"/>
                <a:gd name="T11" fmla="*/ 6182 h 16779"/>
                <a:gd name="T12" fmla="*/ 0 w 2568"/>
                <a:gd name="T13" fmla="*/ 6182 h 16779"/>
                <a:gd name="T14" fmla="*/ 0 w 2568"/>
                <a:gd name="T15" fmla="*/ 16779 h 16779"/>
                <a:gd name="T16" fmla="*/ 2 w 2568"/>
                <a:gd name="T17" fmla="*/ 16779 h 16779"/>
                <a:gd name="T18" fmla="*/ 2568 w 2568"/>
                <a:gd name="T19" fmla="*/ 16779 h 16779"/>
                <a:gd name="T20" fmla="*/ 2568 w 2568"/>
                <a:gd name="T21" fmla="*/ 6169 h 16779"/>
                <a:gd name="T22" fmla="*/ 2568 w 2568"/>
                <a:gd name="T23" fmla="*/ 4110 h 16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68" h="16779">
                  <a:moveTo>
                    <a:pt x="2568" y="4110"/>
                  </a:moveTo>
                  <a:lnTo>
                    <a:pt x="2568" y="34"/>
                  </a:lnTo>
                  <a:lnTo>
                    <a:pt x="2568" y="0"/>
                  </a:lnTo>
                  <a:lnTo>
                    <a:pt x="2" y="6169"/>
                  </a:lnTo>
                  <a:lnTo>
                    <a:pt x="19" y="6169"/>
                  </a:lnTo>
                  <a:lnTo>
                    <a:pt x="2" y="6182"/>
                  </a:lnTo>
                  <a:lnTo>
                    <a:pt x="0" y="6182"/>
                  </a:lnTo>
                  <a:lnTo>
                    <a:pt x="0" y="16779"/>
                  </a:lnTo>
                  <a:lnTo>
                    <a:pt x="2" y="16779"/>
                  </a:lnTo>
                  <a:lnTo>
                    <a:pt x="2568" y="16779"/>
                  </a:lnTo>
                  <a:lnTo>
                    <a:pt x="2568" y="6169"/>
                  </a:lnTo>
                  <a:lnTo>
                    <a:pt x="2568" y="411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Rectangle 17"/>
            <p:cNvSpPr>
              <a:spLocks noChangeArrowheads="1"/>
            </p:cNvSpPr>
            <p:nvPr/>
          </p:nvSpPr>
          <p:spPr bwMode="auto">
            <a:xfrm>
              <a:off x="-9129713" y="-762000"/>
              <a:ext cx="5792788" cy="5514975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8861425" y="2706687"/>
              <a:ext cx="3330575" cy="4151313"/>
            </a:xfrm>
            <a:custGeom>
              <a:avLst/>
              <a:gdLst>
                <a:gd name="T0" fmla="*/ 0 w 8393"/>
                <a:gd name="T1" fmla="*/ 4176 h 20921"/>
                <a:gd name="T2" fmla="*/ 0 w 8393"/>
                <a:gd name="T3" fmla="*/ 20921 h 20921"/>
                <a:gd name="T4" fmla="*/ 8393 w 8393"/>
                <a:gd name="T5" fmla="*/ 20921 h 20921"/>
                <a:gd name="T6" fmla="*/ 8393 w 8393"/>
                <a:gd name="T7" fmla="*/ 4176 h 20921"/>
                <a:gd name="T8" fmla="*/ 8393 w 8393"/>
                <a:gd name="T9" fmla="*/ 0 h 20921"/>
                <a:gd name="T10" fmla="*/ 0 w 8393"/>
                <a:gd name="T11" fmla="*/ 0 h 20921"/>
                <a:gd name="T12" fmla="*/ 0 w 8393"/>
                <a:gd name="T13" fmla="*/ 4176 h 20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93" h="20921">
                  <a:moveTo>
                    <a:pt x="0" y="4176"/>
                  </a:moveTo>
                  <a:lnTo>
                    <a:pt x="0" y="20921"/>
                  </a:lnTo>
                  <a:lnTo>
                    <a:pt x="8393" y="20921"/>
                  </a:lnTo>
                  <a:lnTo>
                    <a:pt x="8393" y="4176"/>
                  </a:lnTo>
                  <a:lnTo>
                    <a:pt x="8393" y="0"/>
                  </a:lnTo>
                  <a:lnTo>
                    <a:pt x="0" y="0"/>
                  </a:lnTo>
                  <a:lnTo>
                    <a:pt x="0" y="4176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40" y="5085184"/>
            <a:ext cx="8544949" cy="1667520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40" y="2920812"/>
            <a:ext cx="652872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430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Rest of th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9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21"/>
          <p:cNvSpPr>
            <a:spLocks noGrp="1"/>
          </p:cNvSpPr>
          <p:nvPr>
            <p:ph type="title"/>
          </p:nvPr>
        </p:nvSpPr>
        <p:spPr>
          <a:xfrm>
            <a:off x="486835" y="254001"/>
            <a:ext cx="11218333" cy="332399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algn="l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400" b="1" kern="120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kumimoji="0"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184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BD192-1EA3-40D2-AC08-6A9EE6DFC908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2/0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Your Footer Goes Her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786E5-36B4-4750-9BD9-353AA4FBC16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7929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887756" y="620688"/>
            <a:ext cx="7694645" cy="288032"/>
          </a:xfrm>
        </p:spPr>
        <p:txBody>
          <a:bodyPr anchor="ctr">
            <a:noAutofit/>
          </a:bodyPr>
          <a:lstStyle>
            <a:lvl1pPr marL="0" indent="0" algn="r">
              <a:buNone/>
              <a:defRPr sz="1600" cap="small" baseline="0">
                <a:solidFill>
                  <a:srgbClr val="1D263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3887756" y="3076"/>
            <a:ext cx="7694645" cy="617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622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vertic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7" name="Rectangle 12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pic>
        <p:nvPicPr>
          <p:cNvPr id="128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02" t="47104" r="23512" b="13131"/>
          <a:stretch/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7"/>
          <p:cNvSpPr>
            <a:spLocks noGrp="1"/>
          </p:cNvSpPr>
          <p:nvPr userDrawn="1">
            <p:ph type="ctrTitle" hasCustomPrompt="1"/>
          </p:nvPr>
        </p:nvSpPr>
        <p:spPr>
          <a:xfrm>
            <a:off x="486835" y="5182221"/>
            <a:ext cx="11218333" cy="560923"/>
          </a:xfrm>
        </p:spPr>
        <p:txBody>
          <a:bodyPr vert="horz" wrap="square" lIns="0" tIns="0" rIns="0" bIns="0" anchor="b">
            <a:spAutoFit/>
          </a:bodyPr>
          <a:lstStyle>
            <a:lvl1pPr algn="ctr">
              <a:lnSpc>
                <a:spcPct val="100000"/>
              </a:lnSpc>
              <a:defRPr kumimoji="0" lang="en-US" sz="4050" b="1" i="0" u="none" strike="noStrike" kern="1200" cap="none" spc="0" normalizeH="0" baseline="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dirty="0"/>
              <a:t>Use this slide</a:t>
            </a:r>
          </a:p>
        </p:txBody>
      </p:sp>
    </p:spTree>
    <p:extLst>
      <p:ext uri="{BB962C8B-B14F-4D97-AF65-F5344CB8AC3E}">
        <p14:creationId xmlns:p14="http://schemas.microsoft.com/office/powerpoint/2010/main" val="3638575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Side by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6" name="Group 125"/>
          <p:cNvGrpSpPr/>
          <p:nvPr userDrawn="1"/>
        </p:nvGrpSpPr>
        <p:grpSpPr>
          <a:xfrm>
            <a:off x="-1" y="0"/>
            <a:ext cx="12192001" cy="6858000"/>
            <a:chOff x="-1" y="0"/>
            <a:chExt cx="9144001" cy="6858000"/>
          </a:xfrm>
        </p:grpSpPr>
        <p:sp>
          <p:nvSpPr>
            <p:cNvPr id="127" name="Rectangle 126"/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FFFFFF"/>
                </a:solidFill>
              </a:endParaRPr>
            </a:p>
          </p:txBody>
        </p:sp>
        <p:pic>
          <p:nvPicPr>
            <p:cNvPr id="128" name="Picture 2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502" t="47104" r="23512" b="13131"/>
            <a:stretch/>
          </p:blipFill>
          <p:spPr bwMode="auto">
            <a:xfrm>
              <a:off x="-1" y="0"/>
              <a:ext cx="9144001" cy="685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Title 7"/>
          <p:cNvSpPr>
            <a:spLocks noGrp="1"/>
          </p:cNvSpPr>
          <p:nvPr>
            <p:ph type="ctrTitle" hasCustomPrompt="1"/>
          </p:nvPr>
        </p:nvSpPr>
        <p:spPr>
          <a:xfrm>
            <a:off x="5802491" y="3026310"/>
            <a:ext cx="5902677" cy="560923"/>
          </a:xfr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kumimoji="0" lang="en-US" sz="4050" b="1" i="0" u="none" strike="noStrike" kern="1200" cap="none" spc="0" normalizeH="0" baseline="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dirty="0"/>
              <a:t>Use this slid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5802491" y="3577784"/>
            <a:ext cx="5902677" cy="369332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buNone/>
              <a:defRPr sz="2400" baseline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  <a:lumOff val="35000"/>
                  </a:schemeClr>
                </a:solidFill>
                <a:effectLst/>
                <a:latin typeface="+mj-lt"/>
                <a:cs typeface="Arial" pitchFamily="34" charset="0"/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kumimoji="0" lang="en-US" dirty="0"/>
              <a:t>Products with subtitles</a:t>
            </a:r>
          </a:p>
        </p:txBody>
      </p:sp>
    </p:spTree>
    <p:extLst>
      <p:ext uri="{BB962C8B-B14F-4D97-AF65-F5344CB8AC3E}">
        <p14:creationId xmlns:p14="http://schemas.microsoft.com/office/powerpoint/2010/main" val="11798649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Breaker -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6" name="Group 125"/>
          <p:cNvGrpSpPr/>
          <p:nvPr userDrawn="1"/>
        </p:nvGrpSpPr>
        <p:grpSpPr>
          <a:xfrm>
            <a:off x="-1" y="0"/>
            <a:ext cx="12192001" cy="6858000"/>
            <a:chOff x="-1" y="0"/>
            <a:chExt cx="9144001" cy="6858000"/>
          </a:xfrm>
        </p:grpSpPr>
        <p:sp>
          <p:nvSpPr>
            <p:cNvPr id="127" name="Rectangle 126"/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FFFFFF"/>
                </a:solidFill>
              </a:endParaRPr>
            </a:p>
          </p:txBody>
        </p:sp>
        <p:pic>
          <p:nvPicPr>
            <p:cNvPr id="128" name="Picture 2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502" t="47104" r="23512" b="13131"/>
            <a:stretch/>
          </p:blipFill>
          <p:spPr bwMode="auto">
            <a:xfrm>
              <a:off x="-1" y="0"/>
              <a:ext cx="9144001" cy="685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Title 7"/>
          <p:cNvSpPr>
            <a:spLocks noGrp="1"/>
          </p:cNvSpPr>
          <p:nvPr>
            <p:ph type="ctrTitle" hasCustomPrompt="1"/>
          </p:nvPr>
        </p:nvSpPr>
        <p:spPr>
          <a:xfrm>
            <a:off x="486835" y="3026310"/>
            <a:ext cx="11218333" cy="560923"/>
          </a:xfrm>
        </p:spPr>
        <p:txBody>
          <a:bodyPr vert="horz" wrap="square" lIns="0" tIns="0" rIns="0" bIns="0" anchor="b">
            <a:spAutoFit/>
          </a:bodyPr>
          <a:lstStyle>
            <a:lvl1pPr algn="ctr">
              <a:lnSpc>
                <a:spcPct val="100000"/>
              </a:lnSpc>
              <a:defRPr kumimoji="0" lang="en-US" sz="4050" b="1" i="0" u="none" strike="noStrike" kern="1200" cap="none" spc="0" normalizeH="0" baseline="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dirty="0"/>
              <a:t>Use this slid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486835" y="3577784"/>
            <a:ext cx="11218333" cy="369332"/>
          </a:xfrm>
        </p:spPr>
        <p:txBody>
          <a:bodyPr wrap="square" lIns="0" tIns="0" rIns="0" bIns="0" anchor="t">
            <a:spAutoFit/>
          </a:bodyPr>
          <a:lstStyle>
            <a:lvl1pPr marL="0" indent="0" algn="ctr">
              <a:buNone/>
              <a:defRPr sz="2400" baseline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  <a:lumOff val="35000"/>
                  </a:schemeClr>
                </a:solidFill>
                <a:effectLst/>
                <a:latin typeface="+mj-lt"/>
                <a:cs typeface="Arial" pitchFamily="34" charset="0"/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kumimoji="0" lang="en-US" dirty="0"/>
              <a:t>Products with subtitles</a:t>
            </a:r>
          </a:p>
        </p:txBody>
      </p:sp>
    </p:spTree>
    <p:extLst>
      <p:ext uri="{BB962C8B-B14F-4D97-AF65-F5344CB8AC3E}">
        <p14:creationId xmlns:p14="http://schemas.microsoft.com/office/powerpoint/2010/main" val="9128230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st of th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21"/>
          <p:cNvSpPr>
            <a:spLocks noGrp="1"/>
          </p:cNvSpPr>
          <p:nvPr>
            <p:ph type="title"/>
          </p:nvPr>
        </p:nvSpPr>
        <p:spPr>
          <a:xfrm>
            <a:off x="486835" y="254001"/>
            <a:ext cx="11218333" cy="332399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algn="l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400" b="1" kern="120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kumimoji="0"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86835" y="1052513"/>
            <a:ext cx="11218333" cy="5580062"/>
          </a:xfrm>
        </p:spPr>
        <p:txBody>
          <a:bodyPr/>
          <a:lstStyle>
            <a:lvl1pPr marL="240030" indent="-240030">
              <a:buClr>
                <a:schemeClr val="tx2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defRPr/>
            </a:lvl1pPr>
            <a:lvl2pPr marL="480060" indent="-205740">
              <a:buClr>
                <a:schemeClr val="tx1">
                  <a:lumMod val="50000"/>
                  <a:lumOff val="50000"/>
                </a:schemeClr>
              </a:buClr>
              <a:buSzPct val="109000"/>
              <a:buFont typeface="Arial" pitchFamily="34" charset="0"/>
              <a:buChar char="•"/>
              <a:defRPr/>
            </a:lvl2pPr>
            <a:lvl3pPr marL="685800" indent="-171450">
              <a:buClr>
                <a:schemeClr val="accent2">
                  <a:lumMod val="75000"/>
                </a:schemeClr>
              </a:buClr>
              <a:buFont typeface="Courier New" pitchFamily="49" charset="0"/>
              <a:buChar char="o"/>
              <a:defRPr/>
            </a:lvl3pPr>
            <a:lvl4pPr>
              <a:buSzPct val="70000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97052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st of th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21"/>
          <p:cNvSpPr>
            <a:spLocks noGrp="1"/>
          </p:cNvSpPr>
          <p:nvPr>
            <p:ph type="title"/>
          </p:nvPr>
        </p:nvSpPr>
        <p:spPr>
          <a:xfrm>
            <a:off x="486835" y="254001"/>
            <a:ext cx="11218333" cy="332399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algn="l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400" b="1" kern="120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kumimoji="0"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789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and LA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21"/>
          <p:cNvSpPr>
            <a:spLocks noGrp="1"/>
          </p:cNvSpPr>
          <p:nvPr>
            <p:ph type="title"/>
          </p:nvPr>
        </p:nvSpPr>
        <p:spPr>
          <a:xfrm>
            <a:off x="486835" y="254001"/>
            <a:ext cx="11218333" cy="332399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lang="en-US" dirty="0">
                <a:solidFill>
                  <a:schemeClr val="bg2"/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kumimoji="0"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05359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1"/>
          <p:cNvSpPr>
            <a:spLocks noGrp="1"/>
          </p:cNvSpPr>
          <p:nvPr>
            <p:ph type="title"/>
          </p:nvPr>
        </p:nvSpPr>
        <p:spPr>
          <a:xfrm>
            <a:off x="486836" y="254003"/>
            <a:ext cx="11218333" cy="249299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algn="l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1800" b="1" kern="120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kumimoji="0"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22098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Yellow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 rot="5400000">
            <a:off x="2666996" y="-2667000"/>
            <a:ext cx="6858002" cy="12192001"/>
            <a:chOff x="0" y="0"/>
            <a:chExt cx="9144000" cy="6858001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 rot="10800000">
              <a:off x="3301263" y="2990373"/>
              <a:ext cx="437082" cy="3867627"/>
            </a:xfrm>
            <a:custGeom>
              <a:avLst/>
              <a:gdLst>
                <a:gd name="T0" fmla="*/ 0 w 2569"/>
                <a:gd name="T1" fmla="*/ 0 h 21654"/>
                <a:gd name="T2" fmla="*/ 0 w 2569"/>
                <a:gd name="T3" fmla="*/ 21654 h 21654"/>
                <a:gd name="T4" fmla="*/ 2 w 2569"/>
                <a:gd name="T5" fmla="*/ 21654 h 21654"/>
                <a:gd name="T6" fmla="*/ 2569 w 2569"/>
                <a:gd name="T7" fmla="*/ 19583 h 21654"/>
                <a:gd name="T8" fmla="*/ 2569 w 2569"/>
                <a:gd name="T9" fmla="*/ 0 h 21654"/>
                <a:gd name="T10" fmla="*/ 0 w 2569"/>
                <a:gd name="T11" fmla="*/ 0 h 2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9" h="21654">
                  <a:moveTo>
                    <a:pt x="0" y="0"/>
                  </a:moveTo>
                  <a:lnTo>
                    <a:pt x="0" y="21654"/>
                  </a:lnTo>
                  <a:lnTo>
                    <a:pt x="2" y="21654"/>
                  </a:lnTo>
                  <a:lnTo>
                    <a:pt x="2569" y="19583"/>
                  </a:lnTo>
                  <a:lnTo>
                    <a:pt x="256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Rectangle 6"/>
            <p:cNvSpPr>
              <a:spLocks noChangeArrowheads="1"/>
            </p:cNvSpPr>
            <p:nvPr/>
          </p:nvSpPr>
          <p:spPr bwMode="auto">
            <a:xfrm rot="10800000">
              <a:off x="1860662" y="3360420"/>
              <a:ext cx="1440600" cy="3497580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 rot="10800000">
              <a:off x="3301263" y="0"/>
              <a:ext cx="437082" cy="3360420"/>
            </a:xfrm>
            <a:custGeom>
              <a:avLst/>
              <a:gdLst>
                <a:gd name="T0" fmla="*/ 2569 w 2569"/>
                <a:gd name="T1" fmla="*/ 0 h 18816"/>
                <a:gd name="T2" fmla="*/ 2 w 2569"/>
                <a:gd name="T3" fmla="*/ 2071 h 18816"/>
                <a:gd name="T4" fmla="*/ 0 w 2569"/>
                <a:gd name="T5" fmla="*/ 2071 h 18816"/>
                <a:gd name="T6" fmla="*/ 0 w 2569"/>
                <a:gd name="T7" fmla="*/ 18816 h 18816"/>
                <a:gd name="T8" fmla="*/ 2 w 2569"/>
                <a:gd name="T9" fmla="*/ 18816 h 18816"/>
                <a:gd name="T10" fmla="*/ 2569 w 2569"/>
                <a:gd name="T11" fmla="*/ 18816 h 18816"/>
                <a:gd name="T12" fmla="*/ 2569 w 2569"/>
                <a:gd name="T13" fmla="*/ 8337 h 18816"/>
                <a:gd name="T14" fmla="*/ 2569 w 2569"/>
                <a:gd name="T15" fmla="*/ 0 h 18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9" h="18816">
                  <a:moveTo>
                    <a:pt x="2569" y="0"/>
                  </a:moveTo>
                  <a:lnTo>
                    <a:pt x="2" y="2071"/>
                  </a:lnTo>
                  <a:lnTo>
                    <a:pt x="0" y="2071"/>
                  </a:lnTo>
                  <a:lnTo>
                    <a:pt x="0" y="18816"/>
                  </a:lnTo>
                  <a:lnTo>
                    <a:pt x="2" y="18816"/>
                  </a:lnTo>
                  <a:lnTo>
                    <a:pt x="2569" y="18816"/>
                  </a:lnTo>
                  <a:lnTo>
                    <a:pt x="2569" y="8337"/>
                  </a:lnTo>
                  <a:lnTo>
                    <a:pt x="2569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 rot="10800000">
              <a:off x="1860662" y="0"/>
              <a:ext cx="1440600" cy="3360420"/>
            </a:xfrm>
            <a:custGeom>
              <a:avLst/>
              <a:gdLst>
                <a:gd name="T0" fmla="*/ 8461 w 8461"/>
                <a:gd name="T1" fmla="*/ 0 h 18816"/>
                <a:gd name="T2" fmla="*/ 0 w 8461"/>
                <a:gd name="T3" fmla="*/ 0 h 18816"/>
                <a:gd name="T4" fmla="*/ 0 w 8461"/>
                <a:gd name="T5" fmla="*/ 8337 h 18816"/>
                <a:gd name="T6" fmla="*/ 0 w 8461"/>
                <a:gd name="T7" fmla="*/ 18816 h 18816"/>
                <a:gd name="T8" fmla="*/ 8461 w 8461"/>
                <a:gd name="T9" fmla="*/ 18816 h 18816"/>
                <a:gd name="T10" fmla="*/ 8461 w 8461"/>
                <a:gd name="T11" fmla="*/ 8337 h 18816"/>
                <a:gd name="T12" fmla="*/ 8461 w 8461"/>
                <a:gd name="T13" fmla="*/ 0 h 18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61" h="18816">
                  <a:moveTo>
                    <a:pt x="8461" y="0"/>
                  </a:moveTo>
                  <a:lnTo>
                    <a:pt x="0" y="0"/>
                  </a:lnTo>
                  <a:lnTo>
                    <a:pt x="0" y="8337"/>
                  </a:lnTo>
                  <a:lnTo>
                    <a:pt x="0" y="18816"/>
                  </a:lnTo>
                  <a:lnTo>
                    <a:pt x="8461" y="18816"/>
                  </a:lnTo>
                  <a:lnTo>
                    <a:pt x="8461" y="8337"/>
                  </a:lnTo>
                  <a:lnTo>
                    <a:pt x="8461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 rot="10800000">
              <a:off x="1428346" y="3360420"/>
              <a:ext cx="432316" cy="3497580"/>
            </a:xfrm>
            <a:custGeom>
              <a:avLst/>
              <a:gdLst>
                <a:gd name="T0" fmla="*/ 0 w 2541"/>
                <a:gd name="T1" fmla="*/ 19583 h 19583"/>
                <a:gd name="T2" fmla="*/ 2 w 2541"/>
                <a:gd name="T3" fmla="*/ 19583 h 19583"/>
                <a:gd name="T4" fmla="*/ 2541 w 2541"/>
                <a:gd name="T5" fmla="*/ 17478 h 19583"/>
                <a:gd name="T6" fmla="*/ 2541 w 2541"/>
                <a:gd name="T7" fmla="*/ 0 h 19583"/>
                <a:gd name="T8" fmla="*/ 0 w 2541"/>
                <a:gd name="T9" fmla="*/ 0 h 19583"/>
                <a:gd name="T10" fmla="*/ 0 w 2541"/>
                <a:gd name="T11" fmla="*/ 19583 h 19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41" h="19583">
                  <a:moveTo>
                    <a:pt x="0" y="19583"/>
                  </a:moveTo>
                  <a:lnTo>
                    <a:pt x="2" y="19583"/>
                  </a:lnTo>
                  <a:lnTo>
                    <a:pt x="2541" y="17478"/>
                  </a:lnTo>
                  <a:lnTo>
                    <a:pt x="2541" y="0"/>
                  </a:lnTo>
                  <a:lnTo>
                    <a:pt x="0" y="0"/>
                  </a:lnTo>
                  <a:lnTo>
                    <a:pt x="0" y="19583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 rot="10800000">
              <a:off x="1428346" y="0"/>
              <a:ext cx="432316" cy="3736182"/>
            </a:xfrm>
            <a:custGeom>
              <a:avLst/>
              <a:gdLst>
                <a:gd name="T0" fmla="*/ 2541 w 2541"/>
                <a:gd name="T1" fmla="*/ 0 h 20921"/>
                <a:gd name="T2" fmla="*/ 2 w 2541"/>
                <a:gd name="T3" fmla="*/ 2105 h 20921"/>
                <a:gd name="T4" fmla="*/ 0 w 2541"/>
                <a:gd name="T5" fmla="*/ 2105 h 20921"/>
                <a:gd name="T6" fmla="*/ 0 w 2541"/>
                <a:gd name="T7" fmla="*/ 10442 h 20921"/>
                <a:gd name="T8" fmla="*/ 0 w 2541"/>
                <a:gd name="T9" fmla="*/ 20921 h 20921"/>
                <a:gd name="T10" fmla="*/ 2541 w 2541"/>
                <a:gd name="T11" fmla="*/ 20921 h 20921"/>
                <a:gd name="T12" fmla="*/ 2541 w 2541"/>
                <a:gd name="T13" fmla="*/ 4176 h 20921"/>
                <a:gd name="T14" fmla="*/ 2541 w 2541"/>
                <a:gd name="T15" fmla="*/ 0 h 20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41" h="20921">
                  <a:moveTo>
                    <a:pt x="2541" y="0"/>
                  </a:moveTo>
                  <a:lnTo>
                    <a:pt x="2" y="2105"/>
                  </a:lnTo>
                  <a:lnTo>
                    <a:pt x="0" y="2105"/>
                  </a:lnTo>
                  <a:lnTo>
                    <a:pt x="0" y="10442"/>
                  </a:lnTo>
                  <a:lnTo>
                    <a:pt x="0" y="20921"/>
                  </a:lnTo>
                  <a:lnTo>
                    <a:pt x="2541" y="20921"/>
                  </a:lnTo>
                  <a:lnTo>
                    <a:pt x="2541" y="4176"/>
                  </a:lnTo>
                  <a:lnTo>
                    <a:pt x="2541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Rectangle 11"/>
            <p:cNvSpPr>
              <a:spLocks noChangeArrowheads="1"/>
            </p:cNvSpPr>
            <p:nvPr/>
          </p:nvSpPr>
          <p:spPr bwMode="auto">
            <a:xfrm rot="10800000">
              <a:off x="0" y="3736181"/>
              <a:ext cx="1428346" cy="3121819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 rot="10800000">
              <a:off x="3738344" y="2990373"/>
              <a:ext cx="2484287" cy="3867627"/>
            </a:xfrm>
            <a:custGeom>
              <a:avLst/>
              <a:gdLst>
                <a:gd name="T0" fmla="*/ 0 w 14597"/>
                <a:gd name="T1" fmla="*/ 0 h 21654"/>
                <a:gd name="T2" fmla="*/ 0 w 14597"/>
                <a:gd name="T3" fmla="*/ 21620 h 21654"/>
                <a:gd name="T4" fmla="*/ 0 w 14597"/>
                <a:gd name="T5" fmla="*/ 21654 h 21654"/>
                <a:gd name="T6" fmla="*/ 14597 w 14597"/>
                <a:gd name="T7" fmla="*/ 21654 h 21654"/>
                <a:gd name="T8" fmla="*/ 14597 w 14597"/>
                <a:gd name="T9" fmla="*/ 0 h 21654"/>
                <a:gd name="T10" fmla="*/ 0 w 14597"/>
                <a:gd name="T11" fmla="*/ 0 h 2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97" h="21654">
                  <a:moveTo>
                    <a:pt x="0" y="0"/>
                  </a:moveTo>
                  <a:lnTo>
                    <a:pt x="0" y="21620"/>
                  </a:lnTo>
                  <a:lnTo>
                    <a:pt x="0" y="21654"/>
                  </a:lnTo>
                  <a:lnTo>
                    <a:pt x="14597" y="21654"/>
                  </a:lnTo>
                  <a:lnTo>
                    <a:pt x="14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auto">
            <a:xfrm rot="10800000">
              <a:off x="3738344" y="0"/>
              <a:ext cx="2484287" cy="2990374"/>
            </a:xfrm>
            <a:custGeom>
              <a:avLst/>
              <a:gdLst>
                <a:gd name="T0" fmla="*/ 0 w 14597"/>
                <a:gd name="T1" fmla="*/ 0 h 16745"/>
                <a:gd name="T2" fmla="*/ 0 w 14597"/>
                <a:gd name="T3" fmla="*/ 4076 h 16745"/>
                <a:gd name="T4" fmla="*/ 0 w 14597"/>
                <a:gd name="T5" fmla="*/ 6135 h 16745"/>
                <a:gd name="T6" fmla="*/ 0 w 14597"/>
                <a:gd name="T7" fmla="*/ 16745 h 16745"/>
                <a:gd name="T8" fmla="*/ 14597 w 14597"/>
                <a:gd name="T9" fmla="*/ 16745 h 16745"/>
                <a:gd name="T10" fmla="*/ 14597 w 14597"/>
                <a:gd name="T11" fmla="*/ 0 h 16745"/>
                <a:gd name="T12" fmla="*/ 0 w 14597"/>
                <a:gd name="T13" fmla="*/ 0 h 16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97" h="16745">
                  <a:moveTo>
                    <a:pt x="0" y="0"/>
                  </a:moveTo>
                  <a:lnTo>
                    <a:pt x="0" y="4076"/>
                  </a:lnTo>
                  <a:lnTo>
                    <a:pt x="0" y="6135"/>
                  </a:lnTo>
                  <a:lnTo>
                    <a:pt x="0" y="16745"/>
                  </a:lnTo>
                  <a:lnTo>
                    <a:pt x="14597" y="16745"/>
                  </a:lnTo>
                  <a:lnTo>
                    <a:pt x="14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 rot="10800000">
              <a:off x="6659713" y="0"/>
              <a:ext cx="2484287" cy="1894523"/>
            </a:xfrm>
            <a:custGeom>
              <a:avLst/>
              <a:gdLst>
                <a:gd name="T0" fmla="*/ 14596 w 14596"/>
                <a:gd name="T1" fmla="*/ 0 h 10610"/>
                <a:gd name="T2" fmla="*/ 0 w 14596"/>
                <a:gd name="T3" fmla="*/ 0 h 10610"/>
                <a:gd name="T4" fmla="*/ 0 w 14596"/>
                <a:gd name="T5" fmla="*/ 10610 h 10610"/>
                <a:gd name="T6" fmla="*/ 14596 w 14596"/>
                <a:gd name="T7" fmla="*/ 10610 h 10610"/>
                <a:gd name="T8" fmla="*/ 14596 w 14596"/>
                <a:gd name="T9" fmla="*/ 13 h 10610"/>
                <a:gd name="T10" fmla="*/ 14596 w 14596"/>
                <a:gd name="T11" fmla="*/ 0 h 10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96" h="10610">
                  <a:moveTo>
                    <a:pt x="14596" y="0"/>
                  </a:moveTo>
                  <a:lnTo>
                    <a:pt x="0" y="0"/>
                  </a:lnTo>
                  <a:lnTo>
                    <a:pt x="0" y="10610"/>
                  </a:lnTo>
                  <a:lnTo>
                    <a:pt x="14596" y="10610"/>
                  </a:lnTo>
                  <a:lnTo>
                    <a:pt x="14596" y="13"/>
                  </a:lnTo>
                  <a:lnTo>
                    <a:pt x="14596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 rot="10800000">
              <a:off x="6222631" y="1894523"/>
              <a:ext cx="437082" cy="4963478"/>
            </a:xfrm>
            <a:custGeom>
              <a:avLst/>
              <a:gdLst>
                <a:gd name="T0" fmla="*/ 0 w 2568"/>
                <a:gd name="T1" fmla="*/ 0 h 27789"/>
                <a:gd name="T2" fmla="*/ 0 w 2568"/>
                <a:gd name="T3" fmla="*/ 27789 h 27789"/>
                <a:gd name="T4" fmla="*/ 2 w 2568"/>
                <a:gd name="T5" fmla="*/ 27789 h 27789"/>
                <a:gd name="T6" fmla="*/ 2568 w 2568"/>
                <a:gd name="T7" fmla="*/ 21620 h 27789"/>
                <a:gd name="T8" fmla="*/ 2568 w 2568"/>
                <a:gd name="T9" fmla="*/ 0 h 27789"/>
                <a:gd name="T10" fmla="*/ 0 w 2568"/>
                <a:gd name="T11" fmla="*/ 0 h 27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8" h="27789">
                  <a:moveTo>
                    <a:pt x="0" y="0"/>
                  </a:moveTo>
                  <a:lnTo>
                    <a:pt x="0" y="27789"/>
                  </a:lnTo>
                  <a:lnTo>
                    <a:pt x="2" y="27789"/>
                  </a:lnTo>
                  <a:lnTo>
                    <a:pt x="2568" y="21620"/>
                  </a:lnTo>
                  <a:lnTo>
                    <a:pt x="256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 rot="10800000">
              <a:off x="6222631" y="0"/>
              <a:ext cx="437082" cy="2996089"/>
            </a:xfrm>
            <a:custGeom>
              <a:avLst/>
              <a:gdLst>
                <a:gd name="T0" fmla="*/ 2568 w 2568"/>
                <a:gd name="T1" fmla="*/ 4110 h 16779"/>
                <a:gd name="T2" fmla="*/ 2568 w 2568"/>
                <a:gd name="T3" fmla="*/ 34 h 16779"/>
                <a:gd name="T4" fmla="*/ 2568 w 2568"/>
                <a:gd name="T5" fmla="*/ 0 h 16779"/>
                <a:gd name="T6" fmla="*/ 2 w 2568"/>
                <a:gd name="T7" fmla="*/ 6169 h 16779"/>
                <a:gd name="T8" fmla="*/ 19 w 2568"/>
                <a:gd name="T9" fmla="*/ 6169 h 16779"/>
                <a:gd name="T10" fmla="*/ 2 w 2568"/>
                <a:gd name="T11" fmla="*/ 6182 h 16779"/>
                <a:gd name="T12" fmla="*/ 0 w 2568"/>
                <a:gd name="T13" fmla="*/ 6182 h 16779"/>
                <a:gd name="T14" fmla="*/ 0 w 2568"/>
                <a:gd name="T15" fmla="*/ 16779 h 16779"/>
                <a:gd name="T16" fmla="*/ 2 w 2568"/>
                <a:gd name="T17" fmla="*/ 16779 h 16779"/>
                <a:gd name="T18" fmla="*/ 2568 w 2568"/>
                <a:gd name="T19" fmla="*/ 16779 h 16779"/>
                <a:gd name="T20" fmla="*/ 2568 w 2568"/>
                <a:gd name="T21" fmla="*/ 6169 h 16779"/>
                <a:gd name="T22" fmla="*/ 2568 w 2568"/>
                <a:gd name="T23" fmla="*/ 4110 h 16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68" h="16779">
                  <a:moveTo>
                    <a:pt x="2568" y="4110"/>
                  </a:moveTo>
                  <a:lnTo>
                    <a:pt x="2568" y="34"/>
                  </a:lnTo>
                  <a:lnTo>
                    <a:pt x="2568" y="0"/>
                  </a:lnTo>
                  <a:lnTo>
                    <a:pt x="2" y="6169"/>
                  </a:lnTo>
                  <a:lnTo>
                    <a:pt x="19" y="6169"/>
                  </a:lnTo>
                  <a:lnTo>
                    <a:pt x="2" y="6182"/>
                  </a:lnTo>
                  <a:lnTo>
                    <a:pt x="0" y="6182"/>
                  </a:lnTo>
                  <a:lnTo>
                    <a:pt x="0" y="16779"/>
                  </a:lnTo>
                  <a:lnTo>
                    <a:pt x="2" y="16779"/>
                  </a:lnTo>
                  <a:lnTo>
                    <a:pt x="2568" y="16779"/>
                  </a:lnTo>
                  <a:lnTo>
                    <a:pt x="2568" y="6169"/>
                  </a:lnTo>
                  <a:lnTo>
                    <a:pt x="2568" y="411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Rectangle 17"/>
            <p:cNvSpPr>
              <a:spLocks noChangeArrowheads="1"/>
            </p:cNvSpPr>
            <p:nvPr/>
          </p:nvSpPr>
          <p:spPr bwMode="auto">
            <a:xfrm rot="10800000">
              <a:off x="6659713" y="1894523"/>
              <a:ext cx="2484287" cy="4963478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 rot="10800000">
              <a:off x="0" y="0"/>
              <a:ext cx="1428346" cy="3736182"/>
            </a:xfrm>
            <a:custGeom>
              <a:avLst/>
              <a:gdLst>
                <a:gd name="T0" fmla="*/ 0 w 8393"/>
                <a:gd name="T1" fmla="*/ 4176 h 20921"/>
                <a:gd name="T2" fmla="*/ 0 w 8393"/>
                <a:gd name="T3" fmla="*/ 20921 h 20921"/>
                <a:gd name="T4" fmla="*/ 8393 w 8393"/>
                <a:gd name="T5" fmla="*/ 20921 h 20921"/>
                <a:gd name="T6" fmla="*/ 8393 w 8393"/>
                <a:gd name="T7" fmla="*/ 4176 h 20921"/>
                <a:gd name="T8" fmla="*/ 8393 w 8393"/>
                <a:gd name="T9" fmla="*/ 0 h 20921"/>
                <a:gd name="T10" fmla="*/ 0 w 8393"/>
                <a:gd name="T11" fmla="*/ 0 h 20921"/>
                <a:gd name="T12" fmla="*/ 0 w 8393"/>
                <a:gd name="T13" fmla="*/ 4176 h 20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93" h="20921">
                  <a:moveTo>
                    <a:pt x="0" y="4176"/>
                  </a:moveTo>
                  <a:lnTo>
                    <a:pt x="0" y="20921"/>
                  </a:lnTo>
                  <a:lnTo>
                    <a:pt x="8393" y="20921"/>
                  </a:lnTo>
                  <a:lnTo>
                    <a:pt x="8393" y="4176"/>
                  </a:lnTo>
                  <a:lnTo>
                    <a:pt x="8393" y="0"/>
                  </a:lnTo>
                  <a:lnTo>
                    <a:pt x="0" y="0"/>
                  </a:lnTo>
                  <a:lnTo>
                    <a:pt x="0" y="4176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40" y="5085184"/>
            <a:ext cx="8544949" cy="1667520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40" y="2920812"/>
            <a:ext cx="652872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664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Blue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 rot="16200000">
            <a:off x="2667000" y="-2667000"/>
            <a:ext cx="6858000" cy="12192000"/>
            <a:chOff x="-9129713" y="-762000"/>
            <a:chExt cx="21321713" cy="7620000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3475037" y="-762000"/>
              <a:ext cx="1019175" cy="4297363"/>
            </a:xfrm>
            <a:custGeom>
              <a:avLst/>
              <a:gdLst>
                <a:gd name="T0" fmla="*/ 0 w 2569"/>
                <a:gd name="T1" fmla="*/ 0 h 21654"/>
                <a:gd name="T2" fmla="*/ 0 w 2569"/>
                <a:gd name="T3" fmla="*/ 21654 h 21654"/>
                <a:gd name="T4" fmla="*/ 2 w 2569"/>
                <a:gd name="T5" fmla="*/ 21654 h 21654"/>
                <a:gd name="T6" fmla="*/ 2569 w 2569"/>
                <a:gd name="T7" fmla="*/ 19583 h 21654"/>
                <a:gd name="T8" fmla="*/ 2569 w 2569"/>
                <a:gd name="T9" fmla="*/ 0 h 21654"/>
                <a:gd name="T10" fmla="*/ 0 w 2569"/>
                <a:gd name="T11" fmla="*/ 0 h 2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9" h="21654">
                  <a:moveTo>
                    <a:pt x="0" y="0"/>
                  </a:moveTo>
                  <a:lnTo>
                    <a:pt x="0" y="21654"/>
                  </a:lnTo>
                  <a:lnTo>
                    <a:pt x="2" y="21654"/>
                  </a:lnTo>
                  <a:lnTo>
                    <a:pt x="2569" y="19583"/>
                  </a:lnTo>
                  <a:lnTo>
                    <a:pt x="256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4494212" y="-762000"/>
              <a:ext cx="3359150" cy="3886200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3475037" y="3124200"/>
              <a:ext cx="1019175" cy="3733800"/>
            </a:xfrm>
            <a:custGeom>
              <a:avLst/>
              <a:gdLst>
                <a:gd name="T0" fmla="*/ 2569 w 2569"/>
                <a:gd name="T1" fmla="*/ 0 h 18816"/>
                <a:gd name="T2" fmla="*/ 2 w 2569"/>
                <a:gd name="T3" fmla="*/ 2071 h 18816"/>
                <a:gd name="T4" fmla="*/ 0 w 2569"/>
                <a:gd name="T5" fmla="*/ 2071 h 18816"/>
                <a:gd name="T6" fmla="*/ 0 w 2569"/>
                <a:gd name="T7" fmla="*/ 18816 h 18816"/>
                <a:gd name="T8" fmla="*/ 2 w 2569"/>
                <a:gd name="T9" fmla="*/ 18816 h 18816"/>
                <a:gd name="T10" fmla="*/ 2569 w 2569"/>
                <a:gd name="T11" fmla="*/ 18816 h 18816"/>
                <a:gd name="T12" fmla="*/ 2569 w 2569"/>
                <a:gd name="T13" fmla="*/ 8337 h 18816"/>
                <a:gd name="T14" fmla="*/ 2569 w 2569"/>
                <a:gd name="T15" fmla="*/ 0 h 18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9" h="18816">
                  <a:moveTo>
                    <a:pt x="2569" y="0"/>
                  </a:moveTo>
                  <a:lnTo>
                    <a:pt x="2" y="2071"/>
                  </a:lnTo>
                  <a:lnTo>
                    <a:pt x="0" y="2071"/>
                  </a:lnTo>
                  <a:lnTo>
                    <a:pt x="0" y="18816"/>
                  </a:lnTo>
                  <a:lnTo>
                    <a:pt x="2" y="18816"/>
                  </a:lnTo>
                  <a:lnTo>
                    <a:pt x="2569" y="18816"/>
                  </a:lnTo>
                  <a:lnTo>
                    <a:pt x="2569" y="8337"/>
                  </a:lnTo>
                  <a:lnTo>
                    <a:pt x="2569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4494212" y="3124200"/>
              <a:ext cx="3359150" cy="3733800"/>
            </a:xfrm>
            <a:custGeom>
              <a:avLst/>
              <a:gdLst>
                <a:gd name="T0" fmla="*/ 8461 w 8461"/>
                <a:gd name="T1" fmla="*/ 0 h 18816"/>
                <a:gd name="T2" fmla="*/ 0 w 8461"/>
                <a:gd name="T3" fmla="*/ 0 h 18816"/>
                <a:gd name="T4" fmla="*/ 0 w 8461"/>
                <a:gd name="T5" fmla="*/ 8337 h 18816"/>
                <a:gd name="T6" fmla="*/ 0 w 8461"/>
                <a:gd name="T7" fmla="*/ 18816 h 18816"/>
                <a:gd name="T8" fmla="*/ 8461 w 8461"/>
                <a:gd name="T9" fmla="*/ 18816 h 18816"/>
                <a:gd name="T10" fmla="*/ 8461 w 8461"/>
                <a:gd name="T11" fmla="*/ 8337 h 18816"/>
                <a:gd name="T12" fmla="*/ 8461 w 8461"/>
                <a:gd name="T13" fmla="*/ 0 h 18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61" h="18816">
                  <a:moveTo>
                    <a:pt x="8461" y="0"/>
                  </a:moveTo>
                  <a:lnTo>
                    <a:pt x="0" y="0"/>
                  </a:lnTo>
                  <a:lnTo>
                    <a:pt x="0" y="8337"/>
                  </a:lnTo>
                  <a:lnTo>
                    <a:pt x="0" y="18816"/>
                  </a:lnTo>
                  <a:lnTo>
                    <a:pt x="8461" y="18816"/>
                  </a:lnTo>
                  <a:lnTo>
                    <a:pt x="8461" y="8337"/>
                  </a:lnTo>
                  <a:lnTo>
                    <a:pt x="8461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3362" y="-762000"/>
              <a:ext cx="1008063" cy="3886200"/>
            </a:xfrm>
            <a:custGeom>
              <a:avLst/>
              <a:gdLst>
                <a:gd name="T0" fmla="*/ 0 w 2541"/>
                <a:gd name="T1" fmla="*/ 19583 h 19583"/>
                <a:gd name="T2" fmla="*/ 2 w 2541"/>
                <a:gd name="T3" fmla="*/ 19583 h 19583"/>
                <a:gd name="T4" fmla="*/ 2541 w 2541"/>
                <a:gd name="T5" fmla="*/ 17478 h 19583"/>
                <a:gd name="T6" fmla="*/ 2541 w 2541"/>
                <a:gd name="T7" fmla="*/ 0 h 19583"/>
                <a:gd name="T8" fmla="*/ 0 w 2541"/>
                <a:gd name="T9" fmla="*/ 0 h 19583"/>
                <a:gd name="T10" fmla="*/ 0 w 2541"/>
                <a:gd name="T11" fmla="*/ 19583 h 19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41" h="19583">
                  <a:moveTo>
                    <a:pt x="0" y="19583"/>
                  </a:moveTo>
                  <a:lnTo>
                    <a:pt x="2" y="19583"/>
                  </a:lnTo>
                  <a:lnTo>
                    <a:pt x="2541" y="17478"/>
                  </a:lnTo>
                  <a:lnTo>
                    <a:pt x="2541" y="0"/>
                  </a:lnTo>
                  <a:lnTo>
                    <a:pt x="0" y="0"/>
                  </a:lnTo>
                  <a:lnTo>
                    <a:pt x="0" y="195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7853362" y="2706687"/>
              <a:ext cx="1008063" cy="4151313"/>
            </a:xfrm>
            <a:custGeom>
              <a:avLst/>
              <a:gdLst>
                <a:gd name="T0" fmla="*/ 2541 w 2541"/>
                <a:gd name="T1" fmla="*/ 0 h 20921"/>
                <a:gd name="T2" fmla="*/ 2 w 2541"/>
                <a:gd name="T3" fmla="*/ 2105 h 20921"/>
                <a:gd name="T4" fmla="*/ 0 w 2541"/>
                <a:gd name="T5" fmla="*/ 2105 h 20921"/>
                <a:gd name="T6" fmla="*/ 0 w 2541"/>
                <a:gd name="T7" fmla="*/ 10442 h 20921"/>
                <a:gd name="T8" fmla="*/ 0 w 2541"/>
                <a:gd name="T9" fmla="*/ 20921 h 20921"/>
                <a:gd name="T10" fmla="*/ 2541 w 2541"/>
                <a:gd name="T11" fmla="*/ 20921 h 20921"/>
                <a:gd name="T12" fmla="*/ 2541 w 2541"/>
                <a:gd name="T13" fmla="*/ 4176 h 20921"/>
                <a:gd name="T14" fmla="*/ 2541 w 2541"/>
                <a:gd name="T15" fmla="*/ 0 h 20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41" h="20921">
                  <a:moveTo>
                    <a:pt x="2541" y="0"/>
                  </a:moveTo>
                  <a:lnTo>
                    <a:pt x="2" y="2105"/>
                  </a:lnTo>
                  <a:lnTo>
                    <a:pt x="0" y="2105"/>
                  </a:lnTo>
                  <a:lnTo>
                    <a:pt x="0" y="10442"/>
                  </a:lnTo>
                  <a:lnTo>
                    <a:pt x="0" y="20921"/>
                  </a:lnTo>
                  <a:lnTo>
                    <a:pt x="2541" y="20921"/>
                  </a:lnTo>
                  <a:lnTo>
                    <a:pt x="2541" y="4176"/>
                  </a:lnTo>
                  <a:lnTo>
                    <a:pt x="2541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 11"/>
            <p:cNvSpPr>
              <a:spLocks noChangeArrowheads="1"/>
            </p:cNvSpPr>
            <p:nvPr/>
          </p:nvSpPr>
          <p:spPr bwMode="auto">
            <a:xfrm>
              <a:off x="8861425" y="-762000"/>
              <a:ext cx="3330575" cy="3468688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-2317750" y="-762000"/>
              <a:ext cx="5792788" cy="4297363"/>
            </a:xfrm>
            <a:custGeom>
              <a:avLst/>
              <a:gdLst>
                <a:gd name="T0" fmla="*/ 0 w 14597"/>
                <a:gd name="T1" fmla="*/ 0 h 21654"/>
                <a:gd name="T2" fmla="*/ 0 w 14597"/>
                <a:gd name="T3" fmla="*/ 21620 h 21654"/>
                <a:gd name="T4" fmla="*/ 0 w 14597"/>
                <a:gd name="T5" fmla="*/ 21654 h 21654"/>
                <a:gd name="T6" fmla="*/ 14597 w 14597"/>
                <a:gd name="T7" fmla="*/ 21654 h 21654"/>
                <a:gd name="T8" fmla="*/ 14597 w 14597"/>
                <a:gd name="T9" fmla="*/ 0 h 21654"/>
                <a:gd name="T10" fmla="*/ 0 w 14597"/>
                <a:gd name="T11" fmla="*/ 0 h 2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97" h="21654">
                  <a:moveTo>
                    <a:pt x="0" y="0"/>
                  </a:moveTo>
                  <a:lnTo>
                    <a:pt x="0" y="21620"/>
                  </a:lnTo>
                  <a:lnTo>
                    <a:pt x="0" y="21654"/>
                  </a:lnTo>
                  <a:lnTo>
                    <a:pt x="14597" y="21654"/>
                  </a:lnTo>
                  <a:lnTo>
                    <a:pt x="14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-2317750" y="3535362"/>
              <a:ext cx="5792788" cy="3322638"/>
            </a:xfrm>
            <a:custGeom>
              <a:avLst/>
              <a:gdLst>
                <a:gd name="T0" fmla="*/ 0 w 14597"/>
                <a:gd name="T1" fmla="*/ 0 h 16745"/>
                <a:gd name="T2" fmla="*/ 0 w 14597"/>
                <a:gd name="T3" fmla="*/ 4076 h 16745"/>
                <a:gd name="T4" fmla="*/ 0 w 14597"/>
                <a:gd name="T5" fmla="*/ 6135 h 16745"/>
                <a:gd name="T6" fmla="*/ 0 w 14597"/>
                <a:gd name="T7" fmla="*/ 16745 h 16745"/>
                <a:gd name="T8" fmla="*/ 14597 w 14597"/>
                <a:gd name="T9" fmla="*/ 16745 h 16745"/>
                <a:gd name="T10" fmla="*/ 14597 w 14597"/>
                <a:gd name="T11" fmla="*/ 0 h 16745"/>
                <a:gd name="T12" fmla="*/ 0 w 14597"/>
                <a:gd name="T13" fmla="*/ 0 h 16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97" h="16745">
                  <a:moveTo>
                    <a:pt x="0" y="0"/>
                  </a:moveTo>
                  <a:lnTo>
                    <a:pt x="0" y="4076"/>
                  </a:lnTo>
                  <a:lnTo>
                    <a:pt x="0" y="6135"/>
                  </a:lnTo>
                  <a:lnTo>
                    <a:pt x="0" y="16745"/>
                  </a:lnTo>
                  <a:lnTo>
                    <a:pt x="14597" y="16745"/>
                  </a:lnTo>
                  <a:lnTo>
                    <a:pt x="14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-9129713" y="4752975"/>
              <a:ext cx="5792788" cy="2105025"/>
            </a:xfrm>
            <a:custGeom>
              <a:avLst/>
              <a:gdLst>
                <a:gd name="T0" fmla="*/ 14596 w 14596"/>
                <a:gd name="T1" fmla="*/ 0 h 10610"/>
                <a:gd name="T2" fmla="*/ 0 w 14596"/>
                <a:gd name="T3" fmla="*/ 0 h 10610"/>
                <a:gd name="T4" fmla="*/ 0 w 14596"/>
                <a:gd name="T5" fmla="*/ 10610 h 10610"/>
                <a:gd name="T6" fmla="*/ 14596 w 14596"/>
                <a:gd name="T7" fmla="*/ 10610 h 10610"/>
                <a:gd name="T8" fmla="*/ 14596 w 14596"/>
                <a:gd name="T9" fmla="*/ 13 h 10610"/>
                <a:gd name="T10" fmla="*/ 14596 w 14596"/>
                <a:gd name="T11" fmla="*/ 0 h 10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96" h="10610">
                  <a:moveTo>
                    <a:pt x="14596" y="0"/>
                  </a:moveTo>
                  <a:lnTo>
                    <a:pt x="0" y="0"/>
                  </a:lnTo>
                  <a:lnTo>
                    <a:pt x="0" y="10610"/>
                  </a:lnTo>
                  <a:lnTo>
                    <a:pt x="14596" y="10610"/>
                  </a:lnTo>
                  <a:lnTo>
                    <a:pt x="14596" y="13"/>
                  </a:lnTo>
                  <a:lnTo>
                    <a:pt x="14596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-3336925" y="-762000"/>
              <a:ext cx="1019175" cy="5514975"/>
            </a:xfrm>
            <a:custGeom>
              <a:avLst/>
              <a:gdLst>
                <a:gd name="T0" fmla="*/ 0 w 2568"/>
                <a:gd name="T1" fmla="*/ 0 h 27789"/>
                <a:gd name="T2" fmla="*/ 0 w 2568"/>
                <a:gd name="T3" fmla="*/ 27789 h 27789"/>
                <a:gd name="T4" fmla="*/ 2 w 2568"/>
                <a:gd name="T5" fmla="*/ 27789 h 27789"/>
                <a:gd name="T6" fmla="*/ 2568 w 2568"/>
                <a:gd name="T7" fmla="*/ 21620 h 27789"/>
                <a:gd name="T8" fmla="*/ 2568 w 2568"/>
                <a:gd name="T9" fmla="*/ 0 h 27789"/>
                <a:gd name="T10" fmla="*/ 0 w 2568"/>
                <a:gd name="T11" fmla="*/ 0 h 27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8" h="27789">
                  <a:moveTo>
                    <a:pt x="0" y="0"/>
                  </a:moveTo>
                  <a:lnTo>
                    <a:pt x="0" y="27789"/>
                  </a:lnTo>
                  <a:lnTo>
                    <a:pt x="2" y="27789"/>
                  </a:lnTo>
                  <a:lnTo>
                    <a:pt x="2568" y="21620"/>
                  </a:lnTo>
                  <a:lnTo>
                    <a:pt x="256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-3336925" y="3529012"/>
              <a:ext cx="1019175" cy="3328988"/>
            </a:xfrm>
            <a:custGeom>
              <a:avLst/>
              <a:gdLst>
                <a:gd name="T0" fmla="*/ 2568 w 2568"/>
                <a:gd name="T1" fmla="*/ 4110 h 16779"/>
                <a:gd name="T2" fmla="*/ 2568 w 2568"/>
                <a:gd name="T3" fmla="*/ 34 h 16779"/>
                <a:gd name="T4" fmla="*/ 2568 w 2568"/>
                <a:gd name="T5" fmla="*/ 0 h 16779"/>
                <a:gd name="T6" fmla="*/ 2 w 2568"/>
                <a:gd name="T7" fmla="*/ 6169 h 16779"/>
                <a:gd name="T8" fmla="*/ 19 w 2568"/>
                <a:gd name="T9" fmla="*/ 6169 h 16779"/>
                <a:gd name="T10" fmla="*/ 2 w 2568"/>
                <a:gd name="T11" fmla="*/ 6182 h 16779"/>
                <a:gd name="T12" fmla="*/ 0 w 2568"/>
                <a:gd name="T13" fmla="*/ 6182 h 16779"/>
                <a:gd name="T14" fmla="*/ 0 w 2568"/>
                <a:gd name="T15" fmla="*/ 16779 h 16779"/>
                <a:gd name="T16" fmla="*/ 2 w 2568"/>
                <a:gd name="T17" fmla="*/ 16779 h 16779"/>
                <a:gd name="T18" fmla="*/ 2568 w 2568"/>
                <a:gd name="T19" fmla="*/ 16779 h 16779"/>
                <a:gd name="T20" fmla="*/ 2568 w 2568"/>
                <a:gd name="T21" fmla="*/ 6169 h 16779"/>
                <a:gd name="T22" fmla="*/ 2568 w 2568"/>
                <a:gd name="T23" fmla="*/ 4110 h 16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68" h="16779">
                  <a:moveTo>
                    <a:pt x="2568" y="4110"/>
                  </a:moveTo>
                  <a:lnTo>
                    <a:pt x="2568" y="34"/>
                  </a:lnTo>
                  <a:lnTo>
                    <a:pt x="2568" y="0"/>
                  </a:lnTo>
                  <a:lnTo>
                    <a:pt x="2" y="6169"/>
                  </a:lnTo>
                  <a:lnTo>
                    <a:pt x="19" y="6169"/>
                  </a:lnTo>
                  <a:lnTo>
                    <a:pt x="2" y="6182"/>
                  </a:lnTo>
                  <a:lnTo>
                    <a:pt x="0" y="6182"/>
                  </a:lnTo>
                  <a:lnTo>
                    <a:pt x="0" y="16779"/>
                  </a:lnTo>
                  <a:lnTo>
                    <a:pt x="2" y="16779"/>
                  </a:lnTo>
                  <a:lnTo>
                    <a:pt x="2568" y="16779"/>
                  </a:lnTo>
                  <a:lnTo>
                    <a:pt x="2568" y="6169"/>
                  </a:lnTo>
                  <a:lnTo>
                    <a:pt x="2568" y="411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/>
          </p:nvSpPr>
          <p:spPr bwMode="auto">
            <a:xfrm>
              <a:off x="-9129713" y="-762000"/>
              <a:ext cx="5792788" cy="5514975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8861425" y="2706687"/>
              <a:ext cx="3330575" cy="4151313"/>
            </a:xfrm>
            <a:custGeom>
              <a:avLst/>
              <a:gdLst>
                <a:gd name="T0" fmla="*/ 0 w 8393"/>
                <a:gd name="T1" fmla="*/ 4176 h 20921"/>
                <a:gd name="T2" fmla="*/ 0 w 8393"/>
                <a:gd name="T3" fmla="*/ 20921 h 20921"/>
                <a:gd name="T4" fmla="*/ 8393 w 8393"/>
                <a:gd name="T5" fmla="*/ 20921 h 20921"/>
                <a:gd name="T6" fmla="*/ 8393 w 8393"/>
                <a:gd name="T7" fmla="*/ 4176 h 20921"/>
                <a:gd name="T8" fmla="*/ 8393 w 8393"/>
                <a:gd name="T9" fmla="*/ 0 h 20921"/>
                <a:gd name="T10" fmla="*/ 0 w 8393"/>
                <a:gd name="T11" fmla="*/ 0 h 20921"/>
                <a:gd name="T12" fmla="*/ 0 w 8393"/>
                <a:gd name="T13" fmla="*/ 4176 h 20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93" h="20921">
                  <a:moveTo>
                    <a:pt x="0" y="4176"/>
                  </a:moveTo>
                  <a:lnTo>
                    <a:pt x="0" y="20921"/>
                  </a:lnTo>
                  <a:lnTo>
                    <a:pt x="8393" y="20921"/>
                  </a:lnTo>
                  <a:lnTo>
                    <a:pt x="8393" y="4176"/>
                  </a:lnTo>
                  <a:lnTo>
                    <a:pt x="8393" y="0"/>
                  </a:lnTo>
                  <a:lnTo>
                    <a:pt x="0" y="0"/>
                  </a:lnTo>
                  <a:lnTo>
                    <a:pt x="0" y="4176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40" y="5085184"/>
            <a:ext cx="8544949" cy="1667520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40" y="2920812"/>
            <a:ext cx="652872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274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Yellow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 rot="5400000">
            <a:off x="2666996" y="-2667000"/>
            <a:ext cx="6858002" cy="12192001"/>
            <a:chOff x="0" y="0"/>
            <a:chExt cx="9144000" cy="6858001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 rot="10800000">
              <a:off x="3301263" y="2990373"/>
              <a:ext cx="437082" cy="3867627"/>
            </a:xfrm>
            <a:custGeom>
              <a:avLst/>
              <a:gdLst>
                <a:gd name="T0" fmla="*/ 0 w 2569"/>
                <a:gd name="T1" fmla="*/ 0 h 21654"/>
                <a:gd name="T2" fmla="*/ 0 w 2569"/>
                <a:gd name="T3" fmla="*/ 21654 h 21654"/>
                <a:gd name="T4" fmla="*/ 2 w 2569"/>
                <a:gd name="T5" fmla="*/ 21654 h 21654"/>
                <a:gd name="T6" fmla="*/ 2569 w 2569"/>
                <a:gd name="T7" fmla="*/ 19583 h 21654"/>
                <a:gd name="T8" fmla="*/ 2569 w 2569"/>
                <a:gd name="T9" fmla="*/ 0 h 21654"/>
                <a:gd name="T10" fmla="*/ 0 w 2569"/>
                <a:gd name="T11" fmla="*/ 0 h 2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9" h="21654">
                  <a:moveTo>
                    <a:pt x="0" y="0"/>
                  </a:moveTo>
                  <a:lnTo>
                    <a:pt x="0" y="21654"/>
                  </a:lnTo>
                  <a:lnTo>
                    <a:pt x="2" y="21654"/>
                  </a:lnTo>
                  <a:lnTo>
                    <a:pt x="2569" y="19583"/>
                  </a:lnTo>
                  <a:lnTo>
                    <a:pt x="256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4" name="Rectangle 6"/>
            <p:cNvSpPr>
              <a:spLocks noChangeArrowheads="1"/>
            </p:cNvSpPr>
            <p:nvPr/>
          </p:nvSpPr>
          <p:spPr bwMode="auto">
            <a:xfrm rot="10800000">
              <a:off x="1860662" y="3360420"/>
              <a:ext cx="1440600" cy="3497580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 rot="10800000">
              <a:off x="3301263" y="0"/>
              <a:ext cx="437082" cy="3360420"/>
            </a:xfrm>
            <a:custGeom>
              <a:avLst/>
              <a:gdLst>
                <a:gd name="T0" fmla="*/ 2569 w 2569"/>
                <a:gd name="T1" fmla="*/ 0 h 18816"/>
                <a:gd name="T2" fmla="*/ 2 w 2569"/>
                <a:gd name="T3" fmla="*/ 2071 h 18816"/>
                <a:gd name="T4" fmla="*/ 0 w 2569"/>
                <a:gd name="T5" fmla="*/ 2071 h 18816"/>
                <a:gd name="T6" fmla="*/ 0 w 2569"/>
                <a:gd name="T7" fmla="*/ 18816 h 18816"/>
                <a:gd name="T8" fmla="*/ 2 w 2569"/>
                <a:gd name="T9" fmla="*/ 18816 h 18816"/>
                <a:gd name="T10" fmla="*/ 2569 w 2569"/>
                <a:gd name="T11" fmla="*/ 18816 h 18816"/>
                <a:gd name="T12" fmla="*/ 2569 w 2569"/>
                <a:gd name="T13" fmla="*/ 8337 h 18816"/>
                <a:gd name="T14" fmla="*/ 2569 w 2569"/>
                <a:gd name="T15" fmla="*/ 0 h 18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9" h="18816">
                  <a:moveTo>
                    <a:pt x="2569" y="0"/>
                  </a:moveTo>
                  <a:lnTo>
                    <a:pt x="2" y="2071"/>
                  </a:lnTo>
                  <a:lnTo>
                    <a:pt x="0" y="2071"/>
                  </a:lnTo>
                  <a:lnTo>
                    <a:pt x="0" y="18816"/>
                  </a:lnTo>
                  <a:lnTo>
                    <a:pt x="2" y="18816"/>
                  </a:lnTo>
                  <a:lnTo>
                    <a:pt x="2569" y="18816"/>
                  </a:lnTo>
                  <a:lnTo>
                    <a:pt x="2569" y="8337"/>
                  </a:lnTo>
                  <a:lnTo>
                    <a:pt x="2569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 rot="10800000">
              <a:off x="1860662" y="0"/>
              <a:ext cx="1440600" cy="3360420"/>
            </a:xfrm>
            <a:custGeom>
              <a:avLst/>
              <a:gdLst>
                <a:gd name="T0" fmla="*/ 8461 w 8461"/>
                <a:gd name="T1" fmla="*/ 0 h 18816"/>
                <a:gd name="T2" fmla="*/ 0 w 8461"/>
                <a:gd name="T3" fmla="*/ 0 h 18816"/>
                <a:gd name="T4" fmla="*/ 0 w 8461"/>
                <a:gd name="T5" fmla="*/ 8337 h 18816"/>
                <a:gd name="T6" fmla="*/ 0 w 8461"/>
                <a:gd name="T7" fmla="*/ 18816 h 18816"/>
                <a:gd name="T8" fmla="*/ 8461 w 8461"/>
                <a:gd name="T9" fmla="*/ 18816 h 18816"/>
                <a:gd name="T10" fmla="*/ 8461 w 8461"/>
                <a:gd name="T11" fmla="*/ 8337 h 18816"/>
                <a:gd name="T12" fmla="*/ 8461 w 8461"/>
                <a:gd name="T13" fmla="*/ 0 h 18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61" h="18816">
                  <a:moveTo>
                    <a:pt x="8461" y="0"/>
                  </a:moveTo>
                  <a:lnTo>
                    <a:pt x="0" y="0"/>
                  </a:lnTo>
                  <a:lnTo>
                    <a:pt x="0" y="8337"/>
                  </a:lnTo>
                  <a:lnTo>
                    <a:pt x="0" y="18816"/>
                  </a:lnTo>
                  <a:lnTo>
                    <a:pt x="8461" y="18816"/>
                  </a:lnTo>
                  <a:lnTo>
                    <a:pt x="8461" y="8337"/>
                  </a:lnTo>
                  <a:lnTo>
                    <a:pt x="8461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 rot="10800000">
              <a:off x="1428346" y="3360420"/>
              <a:ext cx="432316" cy="3497580"/>
            </a:xfrm>
            <a:custGeom>
              <a:avLst/>
              <a:gdLst>
                <a:gd name="T0" fmla="*/ 0 w 2541"/>
                <a:gd name="T1" fmla="*/ 19583 h 19583"/>
                <a:gd name="T2" fmla="*/ 2 w 2541"/>
                <a:gd name="T3" fmla="*/ 19583 h 19583"/>
                <a:gd name="T4" fmla="*/ 2541 w 2541"/>
                <a:gd name="T5" fmla="*/ 17478 h 19583"/>
                <a:gd name="T6" fmla="*/ 2541 w 2541"/>
                <a:gd name="T7" fmla="*/ 0 h 19583"/>
                <a:gd name="T8" fmla="*/ 0 w 2541"/>
                <a:gd name="T9" fmla="*/ 0 h 19583"/>
                <a:gd name="T10" fmla="*/ 0 w 2541"/>
                <a:gd name="T11" fmla="*/ 19583 h 19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41" h="19583">
                  <a:moveTo>
                    <a:pt x="0" y="19583"/>
                  </a:moveTo>
                  <a:lnTo>
                    <a:pt x="2" y="19583"/>
                  </a:lnTo>
                  <a:lnTo>
                    <a:pt x="2541" y="17478"/>
                  </a:lnTo>
                  <a:lnTo>
                    <a:pt x="2541" y="0"/>
                  </a:lnTo>
                  <a:lnTo>
                    <a:pt x="0" y="0"/>
                  </a:lnTo>
                  <a:lnTo>
                    <a:pt x="0" y="19583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 rot="10800000">
              <a:off x="1428346" y="0"/>
              <a:ext cx="432316" cy="3736182"/>
            </a:xfrm>
            <a:custGeom>
              <a:avLst/>
              <a:gdLst>
                <a:gd name="T0" fmla="*/ 2541 w 2541"/>
                <a:gd name="T1" fmla="*/ 0 h 20921"/>
                <a:gd name="T2" fmla="*/ 2 w 2541"/>
                <a:gd name="T3" fmla="*/ 2105 h 20921"/>
                <a:gd name="T4" fmla="*/ 0 w 2541"/>
                <a:gd name="T5" fmla="*/ 2105 h 20921"/>
                <a:gd name="T6" fmla="*/ 0 w 2541"/>
                <a:gd name="T7" fmla="*/ 10442 h 20921"/>
                <a:gd name="T8" fmla="*/ 0 w 2541"/>
                <a:gd name="T9" fmla="*/ 20921 h 20921"/>
                <a:gd name="T10" fmla="*/ 2541 w 2541"/>
                <a:gd name="T11" fmla="*/ 20921 h 20921"/>
                <a:gd name="T12" fmla="*/ 2541 w 2541"/>
                <a:gd name="T13" fmla="*/ 4176 h 20921"/>
                <a:gd name="T14" fmla="*/ 2541 w 2541"/>
                <a:gd name="T15" fmla="*/ 0 h 20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41" h="20921">
                  <a:moveTo>
                    <a:pt x="2541" y="0"/>
                  </a:moveTo>
                  <a:lnTo>
                    <a:pt x="2" y="2105"/>
                  </a:lnTo>
                  <a:lnTo>
                    <a:pt x="0" y="2105"/>
                  </a:lnTo>
                  <a:lnTo>
                    <a:pt x="0" y="10442"/>
                  </a:lnTo>
                  <a:lnTo>
                    <a:pt x="0" y="20921"/>
                  </a:lnTo>
                  <a:lnTo>
                    <a:pt x="2541" y="20921"/>
                  </a:lnTo>
                  <a:lnTo>
                    <a:pt x="2541" y="4176"/>
                  </a:lnTo>
                  <a:lnTo>
                    <a:pt x="2541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9" name="Rectangle 11"/>
            <p:cNvSpPr>
              <a:spLocks noChangeArrowheads="1"/>
            </p:cNvSpPr>
            <p:nvPr/>
          </p:nvSpPr>
          <p:spPr bwMode="auto">
            <a:xfrm rot="10800000">
              <a:off x="0" y="3736181"/>
              <a:ext cx="1428346" cy="3121819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 rot="10800000">
              <a:off x="3738344" y="2990373"/>
              <a:ext cx="2484287" cy="3867627"/>
            </a:xfrm>
            <a:custGeom>
              <a:avLst/>
              <a:gdLst>
                <a:gd name="T0" fmla="*/ 0 w 14597"/>
                <a:gd name="T1" fmla="*/ 0 h 21654"/>
                <a:gd name="T2" fmla="*/ 0 w 14597"/>
                <a:gd name="T3" fmla="*/ 21620 h 21654"/>
                <a:gd name="T4" fmla="*/ 0 w 14597"/>
                <a:gd name="T5" fmla="*/ 21654 h 21654"/>
                <a:gd name="T6" fmla="*/ 14597 w 14597"/>
                <a:gd name="T7" fmla="*/ 21654 h 21654"/>
                <a:gd name="T8" fmla="*/ 14597 w 14597"/>
                <a:gd name="T9" fmla="*/ 0 h 21654"/>
                <a:gd name="T10" fmla="*/ 0 w 14597"/>
                <a:gd name="T11" fmla="*/ 0 h 2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97" h="21654">
                  <a:moveTo>
                    <a:pt x="0" y="0"/>
                  </a:moveTo>
                  <a:lnTo>
                    <a:pt x="0" y="21620"/>
                  </a:lnTo>
                  <a:lnTo>
                    <a:pt x="0" y="21654"/>
                  </a:lnTo>
                  <a:lnTo>
                    <a:pt x="14597" y="21654"/>
                  </a:lnTo>
                  <a:lnTo>
                    <a:pt x="14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auto">
            <a:xfrm rot="10800000">
              <a:off x="3738344" y="0"/>
              <a:ext cx="2484287" cy="2990374"/>
            </a:xfrm>
            <a:custGeom>
              <a:avLst/>
              <a:gdLst>
                <a:gd name="T0" fmla="*/ 0 w 14597"/>
                <a:gd name="T1" fmla="*/ 0 h 16745"/>
                <a:gd name="T2" fmla="*/ 0 w 14597"/>
                <a:gd name="T3" fmla="*/ 4076 h 16745"/>
                <a:gd name="T4" fmla="*/ 0 w 14597"/>
                <a:gd name="T5" fmla="*/ 6135 h 16745"/>
                <a:gd name="T6" fmla="*/ 0 w 14597"/>
                <a:gd name="T7" fmla="*/ 16745 h 16745"/>
                <a:gd name="T8" fmla="*/ 14597 w 14597"/>
                <a:gd name="T9" fmla="*/ 16745 h 16745"/>
                <a:gd name="T10" fmla="*/ 14597 w 14597"/>
                <a:gd name="T11" fmla="*/ 0 h 16745"/>
                <a:gd name="T12" fmla="*/ 0 w 14597"/>
                <a:gd name="T13" fmla="*/ 0 h 16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97" h="16745">
                  <a:moveTo>
                    <a:pt x="0" y="0"/>
                  </a:moveTo>
                  <a:lnTo>
                    <a:pt x="0" y="4076"/>
                  </a:lnTo>
                  <a:lnTo>
                    <a:pt x="0" y="6135"/>
                  </a:lnTo>
                  <a:lnTo>
                    <a:pt x="0" y="16745"/>
                  </a:lnTo>
                  <a:lnTo>
                    <a:pt x="14597" y="16745"/>
                  </a:lnTo>
                  <a:lnTo>
                    <a:pt x="14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 rot="10800000">
              <a:off x="6659713" y="0"/>
              <a:ext cx="2484287" cy="1894523"/>
            </a:xfrm>
            <a:custGeom>
              <a:avLst/>
              <a:gdLst>
                <a:gd name="T0" fmla="*/ 14596 w 14596"/>
                <a:gd name="T1" fmla="*/ 0 h 10610"/>
                <a:gd name="T2" fmla="*/ 0 w 14596"/>
                <a:gd name="T3" fmla="*/ 0 h 10610"/>
                <a:gd name="T4" fmla="*/ 0 w 14596"/>
                <a:gd name="T5" fmla="*/ 10610 h 10610"/>
                <a:gd name="T6" fmla="*/ 14596 w 14596"/>
                <a:gd name="T7" fmla="*/ 10610 h 10610"/>
                <a:gd name="T8" fmla="*/ 14596 w 14596"/>
                <a:gd name="T9" fmla="*/ 13 h 10610"/>
                <a:gd name="T10" fmla="*/ 14596 w 14596"/>
                <a:gd name="T11" fmla="*/ 0 h 10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96" h="10610">
                  <a:moveTo>
                    <a:pt x="14596" y="0"/>
                  </a:moveTo>
                  <a:lnTo>
                    <a:pt x="0" y="0"/>
                  </a:lnTo>
                  <a:lnTo>
                    <a:pt x="0" y="10610"/>
                  </a:lnTo>
                  <a:lnTo>
                    <a:pt x="14596" y="10610"/>
                  </a:lnTo>
                  <a:lnTo>
                    <a:pt x="14596" y="13"/>
                  </a:lnTo>
                  <a:lnTo>
                    <a:pt x="14596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 rot="10800000">
              <a:off x="6222631" y="1894523"/>
              <a:ext cx="437082" cy="4963478"/>
            </a:xfrm>
            <a:custGeom>
              <a:avLst/>
              <a:gdLst>
                <a:gd name="T0" fmla="*/ 0 w 2568"/>
                <a:gd name="T1" fmla="*/ 0 h 27789"/>
                <a:gd name="T2" fmla="*/ 0 w 2568"/>
                <a:gd name="T3" fmla="*/ 27789 h 27789"/>
                <a:gd name="T4" fmla="*/ 2 w 2568"/>
                <a:gd name="T5" fmla="*/ 27789 h 27789"/>
                <a:gd name="T6" fmla="*/ 2568 w 2568"/>
                <a:gd name="T7" fmla="*/ 21620 h 27789"/>
                <a:gd name="T8" fmla="*/ 2568 w 2568"/>
                <a:gd name="T9" fmla="*/ 0 h 27789"/>
                <a:gd name="T10" fmla="*/ 0 w 2568"/>
                <a:gd name="T11" fmla="*/ 0 h 27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8" h="27789">
                  <a:moveTo>
                    <a:pt x="0" y="0"/>
                  </a:moveTo>
                  <a:lnTo>
                    <a:pt x="0" y="27789"/>
                  </a:lnTo>
                  <a:lnTo>
                    <a:pt x="2" y="27789"/>
                  </a:lnTo>
                  <a:lnTo>
                    <a:pt x="2568" y="21620"/>
                  </a:lnTo>
                  <a:lnTo>
                    <a:pt x="256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 rot="10800000">
              <a:off x="6222631" y="0"/>
              <a:ext cx="437082" cy="2996089"/>
            </a:xfrm>
            <a:custGeom>
              <a:avLst/>
              <a:gdLst>
                <a:gd name="T0" fmla="*/ 2568 w 2568"/>
                <a:gd name="T1" fmla="*/ 4110 h 16779"/>
                <a:gd name="T2" fmla="*/ 2568 w 2568"/>
                <a:gd name="T3" fmla="*/ 34 h 16779"/>
                <a:gd name="T4" fmla="*/ 2568 w 2568"/>
                <a:gd name="T5" fmla="*/ 0 h 16779"/>
                <a:gd name="T6" fmla="*/ 2 w 2568"/>
                <a:gd name="T7" fmla="*/ 6169 h 16779"/>
                <a:gd name="T8" fmla="*/ 19 w 2568"/>
                <a:gd name="T9" fmla="*/ 6169 h 16779"/>
                <a:gd name="T10" fmla="*/ 2 w 2568"/>
                <a:gd name="T11" fmla="*/ 6182 h 16779"/>
                <a:gd name="T12" fmla="*/ 0 w 2568"/>
                <a:gd name="T13" fmla="*/ 6182 h 16779"/>
                <a:gd name="T14" fmla="*/ 0 w 2568"/>
                <a:gd name="T15" fmla="*/ 16779 h 16779"/>
                <a:gd name="T16" fmla="*/ 2 w 2568"/>
                <a:gd name="T17" fmla="*/ 16779 h 16779"/>
                <a:gd name="T18" fmla="*/ 2568 w 2568"/>
                <a:gd name="T19" fmla="*/ 16779 h 16779"/>
                <a:gd name="T20" fmla="*/ 2568 w 2568"/>
                <a:gd name="T21" fmla="*/ 6169 h 16779"/>
                <a:gd name="T22" fmla="*/ 2568 w 2568"/>
                <a:gd name="T23" fmla="*/ 4110 h 16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68" h="16779">
                  <a:moveTo>
                    <a:pt x="2568" y="4110"/>
                  </a:moveTo>
                  <a:lnTo>
                    <a:pt x="2568" y="34"/>
                  </a:lnTo>
                  <a:lnTo>
                    <a:pt x="2568" y="0"/>
                  </a:lnTo>
                  <a:lnTo>
                    <a:pt x="2" y="6169"/>
                  </a:lnTo>
                  <a:lnTo>
                    <a:pt x="19" y="6169"/>
                  </a:lnTo>
                  <a:lnTo>
                    <a:pt x="2" y="6182"/>
                  </a:lnTo>
                  <a:lnTo>
                    <a:pt x="0" y="6182"/>
                  </a:lnTo>
                  <a:lnTo>
                    <a:pt x="0" y="16779"/>
                  </a:lnTo>
                  <a:lnTo>
                    <a:pt x="2" y="16779"/>
                  </a:lnTo>
                  <a:lnTo>
                    <a:pt x="2568" y="16779"/>
                  </a:lnTo>
                  <a:lnTo>
                    <a:pt x="2568" y="6169"/>
                  </a:lnTo>
                  <a:lnTo>
                    <a:pt x="2568" y="411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5" name="Rectangle 17"/>
            <p:cNvSpPr>
              <a:spLocks noChangeArrowheads="1"/>
            </p:cNvSpPr>
            <p:nvPr/>
          </p:nvSpPr>
          <p:spPr bwMode="auto">
            <a:xfrm rot="10800000">
              <a:off x="6659713" y="1894523"/>
              <a:ext cx="2484287" cy="4963478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 rot="10800000">
              <a:off x="0" y="0"/>
              <a:ext cx="1428346" cy="3736182"/>
            </a:xfrm>
            <a:custGeom>
              <a:avLst/>
              <a:gdLst>
                <a:gd name="T0" fmla="*/ 0 w 8393"/>
                <a:gd name="T1" fmla="*/ 4176 h 20921"/>
                <a:gd name="T2" fmla="*/ 0 w 8393"/>
                <a:gd name="T3" fmla="*/ 20921 h 20921"/>
                <a:gd name="T4" fmla="*/ 8393 w 8393"/>
                <a:gd name="T5" fmla="*/ 20921 h 20921"/>
                <a:gd name="T6" fmla="*/ 8393 w 8393"/>
                <a:gd name="T7" fmla="*/ 4176 h 20921"/>
                <a:gd name="T8" fmla="*/ 8393 w 8393"/>
                <a:gd name="T9" fmla="*/ 0 h 20921"/>
                <a:gd name="T10" fmla="*/ 0 w 8393"/>
                <a:gd name="T11" fmla="*/ 0 h 20921"/>
                <a:gd name="T12" fmla="*/ 0 w 8393"/>
                <a:gd name="T13" fmla="*/ 4176 h 20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93" h="20921">
                  <a:moveTo>
                    <a:pt x="0" y="4176"/>
                  </a:moveTo>
                  <a:lnTo>
                    <a:pt x="0" y="20921"/>
                  </a:lnTo>
                  <a:lnTo>
                    <a:pt x="8393" y="20921"/>
                  </a:lnTo>
                  <a:lnTo>
                    <a:pt x="8393" y="4176"/>
                  </a:lnTo>
                  <a:lnTo>
                    <a:pt x="8393" y="0"/>
                  </a:lnTo>
                  <a:lnTo>
                    <a:pt x="0" y="0"/>
                  </a:lnTo>
                  <a:lnTo>
                    <a:pt x="0" y="4176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40" y="5085184"/>
            <a:ext cx="8544949" cy="1667520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40" y="2920812"/>
            <a:ext cx="652872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96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Blue/Yellow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20" name="Freeform 5"/>
            <p:cNvSpPr>
              <a:spLocks/>
            </p:cNvSpPr>
            <p:nvPr/>
          </p:nvSpPr>
          <p:spPr bwMode="auto">
            <a:xfrm>
              <a:off x="5681073" y="3428293"/>
              <a:ext cx="405122" cy="1371034"/>
            </a:xfrm>
            <a:custGeom>
              <a:avLst/>
              <a:gdLst>
                <a:gd name="T0" fmla="*/ 0 w 2424"/>
                <a:gd name="T1" fmla="*/ 0 h 7748"/>
                <a:gd name="T2" fmla="*/ 0 w 2424"/>
                <a:gd name="T3" fmla="*/ 7748 h 7748"/>
                <a:gd name="T4" fmla="*/ 2 w 2424"/>
                <a:gd name="T5" fmla="*/ 7748 h 7748"/>
                <a:gd name="T6" fmla="*/ 2424 w 2424"/>
                <a:gd name="T7" fmla="*/ 5809 h 7748"/>
                <a:gd name="T8" fmla="*/ 2424 w 2424"/>
                <a:gd name="T9" fmla="*/ 0 h 7748"/>
                <a:gd name="T10" fmla="*/ 0 w 2424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4" h="7748">
                  <a:moveTo>
                    <a:pt x="0" y="0"/>
                  </a:moveTo>
                  <a:lnTo>
                    <a:pt x="0" y="7748"/>
                  </a:lnTo>
                  <a:lnTo>
                    <a:pt x="2" y="7748"/>
                  </a:lnTo>
                  <a:lnTo>
                    <a:pt x="2424" y="5809"/>
                  </a:lnTo>
                  <a:lnTo>
                    <a:pt x="242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/>
          </p:nvSpPr>
          <p:spPr bwMode="auto">
            <a:xfrm>
              <a:off x="6086195" y="3428293"/>
              <a:ext cx="1334364" cy="1028630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7" name="Freeform 7"/>
            <p:cNvSpPr>
              <a:spLocks/>
            </p:cNvSpPr>
            <p:nvPr userDrawn="1"/>
          </p:nvSpPr>
          <p:spPr bwMode="auto">
            <a:xfrm>
              <a:off x="5681073" y="4456922"/>
              <a:ext cx="405122" cy="2401078"/>
            </a:xfrm>
            <a:custGeom>
              <a:avLst/>
              <a:gdLst>
                <a:gd name="T0" fmla="*/ 2424 w 2424"/>
                <a:gd name="T1" fmla="*/ 0 h 13579"/>
                <a:gd name="T2" fmla="*/ 2 w 2424"/>
                <a:gd name="T3" fmla="*/ 1939 h 13579"/>
                <a:gd name="T4" fmla="*/ 0 w 2424"/>
                <a:gd name="T5" fmla="*/ 1939 h 13579"/>
                <a:gd name="T6" fmla="*/ 0 w 2424"/>
                <a:gd name="T7" fmla="*/ 13579 h 13579"/>
                <a:gd name="T8" fmla="*/ 2 w 2424"/>
                <a:gd name="T9" fmla="*/ 13579 h 13579"/>
                <a:gd name="T10" fmla="*/ 2424 w 2424"/>
                <a:gd name="T11" fmla="*/ 13579 h 13579"/>
                <a:gd name="T12" fmla="*/ 2424 w 2424"/>
                <a:gd name="T13" fmla="*/ 7805 h 13579"/>
                <a:gd name="T14" fmla="*/ 2424 w 2424"/>
                <a:gd name="T15" fmla="*/ 0 h 13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24" h="13579">
                  <a:moveTo>
                    <a:pt x="2424" y="0"/>
                  </a:moveTo>
                  <a:lnTo>
                    <a:pt x="2" y="1939"/>
                  </a:lnTo>
                  <a:lnTo>
                    <a:pt x="0" y="1939"/>
                  </a:lnTo>
                  <a:lnTo>
                    <a:pt x="0" y="13579"/>
                  </a:lnTo>
                  <a:lnTo>
                    <a:pt x="2" y="13579"/>
                  </a:lnTo>
                  <a:lnTo>
                    <a:pt x="2424" y="13579"/>
                  </a:lnTo>
                  <a:lnTo>
                    <a:pt x="2424" y="7805"/>
                  </a:lnTo>
                  <a:lnTo>
                    <a:pt x="2424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6086195" y="4456922"/>
              <a:ext cx="1334364" cy="2401078"/>
            </a:xfrm>
            <a:custGeom>
              <a:avLst/>
              <a:gdLst>
                <a:gd name="T0" fmla="*/ 7982 w 7982"/>
                <a:gd name="T1" fmla="*/ 0 h 13579"/>
                <a:gd name="T2" fmla="*/ 0 w 7982"/>
                <a:gd name="T3" fmla="*/ 0 h 13579"/>
                <a:gd name="T4" fmla="*/ 0 w 7982"/>
                <a:gd name="T5" fmla="*/ 7805 h 13579"/>
                <a:gd name="T6" fmla="*/ 0 w 7982"/>
                <a:gd name="T7" fmla="*/ 13579 h 13579"/>
                <a:gd name="T8" fmla="*/ 7982 w 7982"/>
                <a:gd name="T9" fmla="*/ 13579 h 13579"/>
                <a:gd name="T10" fmla="*/ 7982 w 7982"/>
                <a:gd name="T11" fmla="*/ 7805 h 13579"/>
                <a:gd name="T12" fmla="*/ 7982 w 7982"/>
                <a:gd name="T13" fmla="*/ 0 h 13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82" h="13579">
                  <a:moveTo>
                    <a:pt x="7982" y="0"/>
                  </a:moveTo>
                  <a:lnTo>
                    <a:pt x="0" y="0"/>
                  </a:lnTo>
                  <a:lnTo>
                    <a:pt x="0" y="7805"/>
                  </a:lnTo>
                  <a:lnTo>
                    <a:pt x="0" y="13579"/>
                  </a:lnTo>
                  <a:lnTo>
                    <a:pt x="7982" y="13579"/>
                  </a:lnTo>
                  <a:lnTo>
                    <a:pt x="7982" y="7805"/>
                  </a:lnTo>
                  <a:lnTo>
                    <a:pt x="7982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7420559" y="3428293"/>
              <a:ext cx="400443" cy="1028630"/>
            </a:xfrm>
            <a:custGeom>
              <a:avLst/>
              <a:gdLst>
                <a:gd name="T0" fmla="*/ 0 w 2397"/>
                <a:gd name="T1" fmla="*/ 5809 h 5809"/>
                <a:gd name="T2" fmla="*/ 1 w 2397"/>
                <a:gd name="T3" fmla="*/ 5809 h 5809"/>
                <a:gd name="T4" fmla="*/ 2397 w 2397"/>
                <a:gd name="T5" fmla="*/ 3839 h 5809"/>
                <a:gd name="T6" fmla="*/ 2397 w 2397"/>
                <a:gd name="T7" fmla="*/ 0 h 5809"/>
                <a:gd name="T8" fmla="*/ 0 w 2397"/>
                <a:gd name="T9" fmla="*/ 0 h 5809"/>
                <a:gd name="T10" fmla="*/ 0 w 2397"/>
                <a:gd name="T11" fmla="*/ 5809 h 5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7" h="5809">
                  <a:moveTo>
                    <a:pt x="0" y="5809"/>
                  </a:moveTo>
                  <a:lnTo>
                    <a:pt x="1" y="5809"/>
                  </a:lnTo>
                  <a:lnTo>
                    <a:pt x="2397" y="3839"/>
                  </a:lnTo>
                  <a:lnTo>
                    <a:pt x="2397" y="0"/>
                  </a:lnTo>
                  <a:lnTo>
                    <a:pt x="0" y="0"/>
                  </a:lnTo>
                  <a:lnTo>
                    <a:pt x="0" y="5809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0" name="Freeform 10"/>
            <p:cNvSpPr>
              <a:spLocks/>
            </p:cNvSpPr>
            <p:nvPr userDrawn="1"/>
          </p:nvSpPr>
          <p:spPr bwMode="auto">
            <a:xfrm>
              <a:off x="7420559" y="4107443"/>
              <a:ext cx="400443" cy="2750557"/>
            </a:xfrm>
            <a:custGeom>
              <a:avLst/>
              <a:gdLst>
                <a:gd name="T0" fmla="*/ 2397 w 2397"/>
                <a:gd name="T1" fmla="*/ 0 h 15549"/>
                <a:gd name="T2" fmla="*/ 1 w 2397"/>
                <a:gd name="T3" fmla="*/ 1970 h 15549"/>
                <a:gd name="T4" fmla="*/ 0 w 2397"/>
                <a:gd name="T5" fmla="*/ 1970 h 15549"/>
                <a:gd name="T6" fmla="*/ 0 w 2397"/>
                <a:gd name="T7" fmla="*/ 9775 h 15549"/>
                <a:gd name="T8" fmla="*/ 0 w 2397"/>
                <a:gd name="T9" fmla="*/ 15549 h 15549"/>
                <a:gd name="T10" fmla="*/ 2397 w 2397"/>
                <a:gd name="T11" fmla="*/ 15549 h 15549"/>
                <a:gd name="T12" fmla="*/ 2397 w 2397"/>
                <a:gd name="T13" fmla="*/ 3909 h 15549"/>
                <a:gd name="T14" fmla="*/ 2397 w 2397"/>
                <a:gd name="T15" fmla="*/ 0 h 15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97" h="15549">
                  <a:moveTo>
                    <a:pt x="2397" y="0"/>
                  </a:moveTo>
                  <a:lnTo>
                    <a:pt x="1" y="1970"/>
                  </a:lnTo>
                  <a:lnTo>
                    <a:pt x="0" y="1970"/>
                  </a:lnTo>
                  <a:lnTo>
                    <a:pt x="0" y="9775"/>
                  </a:lnTo>
                  <a:lnTo>
                    <a:pt x="0" y="15549"/>
                  </a:lnTo>
                  <a:lnTo>
                    <a:pt x="2397" y="15549"/>
                  </a:lnTo>
                  <a:lnTo>
                    <a:pt x="2397" y="3909"/>
                  </a:lnTo>
                  <a:lnTo>
                    <a:pt x="2397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1" name="Rectangle 11"/>
            <p:cNvSpPr>
              <a:spLocks noChangeArrowheads="1"/>
            </p:cNvSpPr>
            <p:nvPr/>
          </p:nvSpPr>
          <p:spPr bwMode="auto">
            <a:xfrm>
              <a:off x="7821001" y="3428293"/>
              <a:ext cx="1322999" cy="679150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2" name="Freeform 12"/>
            <p:cNvSpPr>
              <a:spLocks/>
            </p:cNvSpPr>
            <p:nvPr/>
          </p:nvSpPr>
          <p:spPr bwMode="auto">
            <a:xfrm>
              <a:off x="3379362" y="3428293"/>
              <a:ext cx="2301710" cy="1371034"/>
            </a:xfrm>
            <a:custGeom>
              <a:avLst/>
              <a:gdLst>
                <a:gd name="T0" fmla="*/ 0 w 13770"/>
                <a:gd name="T1" fmla="*/ 0 h 7748"/>
                <a:gd name="T2" fmla="*/ 0 w 13770"/>
                <a:gd name="T3" fmla="*/ 7715 h 7748"/>
                <a:gd name="T4" fmla="*/ 0 w 13770"/>
                <a:gd name="T5" fmla="*/ 7748 h 7748"/>
                <a:gd name="T6" fmla="*/ 13770 w 13770"/>
                <a:gd name="T7" fmla="*/ 7748 h 7748"/>
                <a:gd name="T8" fmla="*/ 13770 w 13770"/>
                <a:gd name="T9" fmla="*/ 0 h 7748"/>
                <a:gd name="T10" fmla="*/ 0 w 13770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48">
                  <a:moveTo>
                    <a:pt x="0" y="0"/>
                  </a:moveTo>
                  <a:lnTo>
                    <a:pt x="0" y="7715"/>
                  </a:lnTo>
                  <a:lnTo>
                    <a:pt x="0" y="7748"/>
                  </a:lnTo>
                  <a:lnTo>
                    <a:pt x="13770" y="7748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3" name="Freeform 13"/>
            <p:cNvSpPr>
              <a:spLocks/>
            </p:cNvSpPr>
            <p:nvPr/>
          </p:nvSpPr>
          <p:spPr bwMode="auto">
            <a:xfrm>
              <a:off x="3379362" y="4799326"/>
              <a:ext cx="2301710" cy="2058674"/>
            </a:xfrm>
            <a:custGeom>
              <a:avLst/>
              <a:gdLst>
                <a:gd name="T0" fmla="*/ 0 w 13770"/>
                <a:gd name="T1" fmla="*/ 0 h 11640"/>
                <a:gd name="T2" fmla="*/ 0 w 13770"/>
                <a:gd name="T3" fmla="*/ 3816 h 11640"/>
                <a:gd name="T4" fmla="*/ 0 w 13770"/>
                <a:gd name="T5" fmla="*/ 5743 h 11640"/>
                <a:gd name="T6" fmla="*/ 0 w 13770"/>
                <a:gd name="T7" fmla="*/ 11640 h 11640"/>
                <a:gd name="T8" fmla="*/ 13770 w 13770"/>
                <a:gd name="T9" fmla="*/ 11640 h 11640"/>
                <a:gd name="T10" fmla="*/ 13770 w 13770"/>
                <a:gd name="T11" fmla="*/ 0 h 11640"/>
                <a:gd name="T12" fmla="*/ 0 w 13770"/>
                <a:gd name="T13" fmla="*/ 0 h 11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70" h="11640">
                  <a:moveTo>
                    <a:pt x="0" y="0"/>
                  </a:moveTo>
                  <a:lnTo>
                    <a:pt x="0" y="3816"/>
                  </a:lnTo>
                  <a:lnTo>
                    <a:pt x="0" y="5743"/>
                  </a:lnTo>
                  <a:lnTo>
                    <a:pt x="0" y="11640"/>
                  </a:lnTo>
                  <a:lnTo>
                    <a:pt x="13770" y="11640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4" name="Freeform 14"/>
            <p:cNvSpPr>
              <a:spLocks/>
            </p:cNvSpPr>
            <p:nvPr/>
          </p:nvSpPr>
          <p:spPr bwMode="auto">
            <a:xfrm>
              <a:off x="0" y="5815221"/>
              <a:ext cx="2974909" cy="1042779"/>
            </a:xfrm>
            <a:custGeom>
              <a:avLst/>
              <a:gdLst>
                <a:gd name="T0" fmla="*/ 17799 w 17799"/>
                <a:gd name="T1" fmla="*/ 0 h 5897"/>
                <a:gd name="T2" fmla="*/ 0 w 17799"/>
                <a:gd name="T3" fmla="*/ 0 h 5897"/>
                <a:gd name="T4" fmla="*/ 0 w 17799"/>
                <a:gd name="T5" fmla="*/ 5897 h 5897"/>
                <a:gd name="T6" fmla="*/ 17799 w 17799"/>
                <a:gd name="T7" fmla="*/ 5897 h 5897"/>
                <a:gd name="T8" fmla="*/ 17799 w 17799"/>
                <a:gd name="T9" fmla="*/ 12 h 5897"/>
                <a:gd name="T10" fmla="*/ 17799 w 17799"/>
                <a:gd name="T11" fmla="*/ 0 h 5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99" h="5897">
                  <a:moveTo>
                    <a:pt x="17799" y="0"/>
                  </a:moveTo>
                  <a:lnTo>
                    <a:pt x="0" y="0"/>
                  </a:lnTo>
                  <a:lnTo>
                    <a:pt x="0" y="5897"/>
                  </a:lnTo>
                  <a:lnTo>
                    <a:pt x="17799" y="5897"/>
                  </a:lnTo>
                  <a:lnTo>
                    <a:pt x="17799" y="12"/>
                  </a:lnTo>
                  <a:lnTo>
                    <a:pt x="17799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auto">
            <a:xfrm>
              <a:off x="2974909" y="3428293"/>
              <a:ext cx="404454" cy="2386930"/>
            </a:xfrm>
            <a:custGeom>
              <a:avLst/>
              <a:gdLst>
                <a:gd name="T0" fmla="*/ 0 w 2423"/>
                <a:gd name="T1" fmla="*/ 0 h 13491"/>
                <a:gd name="T2" fmla="*/ 0 w 2423"/>
                <a:gd name="T3" fmla="*/ 13491 h 13491"/>
                <a:gd name="T4" fmla="*/ 1 w 2423"/>
                <a:gd name="T5" fmla="*/ 13491 h 13491"/>
                <a:gd name="T6" fmla="*/ 2423 w 2423"/>
                <a:gd name="T7" fmla="*/ 7715 h 13491"/>
                <a:gd name="T8" fmla="*/ 2423 w 2423"/>
                <a:gd name="T9" fmla="*/ 0 h 13491"/>
                <a:gd name="T10" fmla="*/ 0 w 2423"/>
                <a:gd name="T11" fmla="*/ 0 h 13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3" h="13491">
                  <a:moveTo>
                    <a:pt x="0" y="0"/>
                  </a:moveTo>
                  <a:lnTo>
                    <a:pt x="0" y="13491"/>
                  </a:lnTo>
                  <a:lnTo>
                    <a:pt x="1" y="13491"/>
                  </a:lnTo>
                  <a:lnTo>
                    <a:pt x="2423" y="7715"/>
                  </a:lnTo>
                  <a:lnTo>
                    <a:pt x="24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6" name="Freeform 16"/>
            <p:cNvSpPr>
              <a:spLocks/>
            </p:cNvSpPr>
            <p:nvPr userDrawn="1"/>
          </p:nvSpPr>
          <p:spPr bwMode="auto">
            <a:xfrm>
              <a:off x="2974909" y="4793667"/>
              <a:ext cx="404454" cy="2064333"/>
            </a:xfrm>
            <a:custGeom>
              <a:avLst/>
              <a:gdLst>
                <a:gd name="T0" fmla="*/ 2423 w 2423"/>
                <a:gd name="T1" fmla="*/ 3849 h 11673"/>
                <a:gd name="T2" fmla="*/ 2423 w 2423"/>
                <a:gd name="T3" fmla="*/ 33 h 11673"/>
                <a:gd name="T4" fmla="*/ 2423 w 2423"/>
                <a:gd name="T5" fmla="*/ 0 h 11673"/>
                <a:gd name="T6" fmla="*/ 1 w 2423"/>
                <a:gd name="T7" fmla="*/ 5776 h 11673"/>
                <a:gd name="T8" fmla="*/ 17 w 2423"/>
                <a:gd name="T9" fmla="*/ 5776 h 11673"/>
                <a:gd name="T10" fmla="*/ 1 w 2423"/>
                <a:gd name="T11" fmla="*/ 5788 h 11673"/>
                <a:gd name="T12" fmla="*/ 0 w 2423"/>
                <a:gd name="T13" fmla="*/ 5788 h 11673"/>
                <a:gd name="T14" fmla="*/ 0 w 2423"/>
                <a:gd name="T15" fmla="*/ 11673 h 11673"/>
                <a:gd name="T16" fmla="*/ 1 w 2423"/>
                <a:gd name="T17" fmla="*/ 11673 h 11673"/>
                <a:gd name="T18" fmla="*/ 2423 w 2423"/>
                <a:gd name="T19" fmla="*/ 11673 h 11673"/>
                <a:gd name="T20" fmla="*/ 2423 w 2423"/>
                <a:gd name="T21" fmla="*/ 5776 h 11673"/>
                <a:gd name="T22" fmla="*/ 2423 w 2423"/>
                <a:gd name="T23" fmla="*/ 3849 h 11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3" h="11673">
                  <a:moveTo>
                    <a:pt x="2423" y="3849"/>
                  </a:moveTo>
                  <a:lnTo>
                    <a:pt x="2423" y="33"/>
                  </a:lnTo>
                  <a:lnTo>
                    <a:pt x="2423" y="0"/>
                  </a:lnTo>
                  <a:lnTo>
                    <a:pt x="1" y="5776"/>
                  </a:lnTo>
                  <a:lnTo>
                    <a:pt x="17" y="5776"/>
                  </a:lnTo>
                  <a:lnTo>
                    <a:pt x="1" y="5788"/>
                  </a:lnTo>
                  <a:lnTo>
                    <a:pt x="0" y="5788"/>
                  </a:lnTo>
                  <a:lnTo>
                    <a:pt x="0" y="11673"/>
                  </a:lnTo>
                  <a:lnTo>
                    <a:pt x="1" y="11673"/>
                  </a:lnTo>
                  <a:lnTo>
                    <a:pt x="2423" y="11673"/>
                  </a:lnTo>
                  <a:lnTo>
                    <a:pt x="2423" y="5776"/>
                  </a:lnTo>
                  <a:lnTo>
                    <a:pt x="2423" y="3849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7" name="Rectangle 17"/>
            <p:cNvSpPr>
              <a:spLocks noChangeArrowheads="1"/>
            </p:cNvSpPr>
            <p:nvPr/>
          </p:nvSpPr>
          <p:spPr bwMode="auto">
            <a:xfrm>
              <a:off x="0" y="3428293"/>
              <a:ext cx="2974909" cy="2386930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8" name="Freeform 18"/>
            <p:cNvSpPr>
              <a:spLocks/>
            </p:cNvSpPr>
            <p:nvPr/>
          </p:nvSpPr>
          <p:spPr bwMode="auto">
            <a:xfrm>
              <a:off x="7821001" y="4107443"/>
              <a:ext cx="1322999" cy="2750557"/>
            </a:xfrm>
            <a:custGeom>
              <a:avLst/>
              <a:gdLst>
                <a:gd name="T0" fmla="*/ 0 w 7917"/>
                <a:gd name="T1" fmla="*/ 3909 h 15549"/>
                <a:gd name="T2" fmla="*/ 0 w 7917"/>
                <a:gd name="T3" fmla="*/ 15549 h 15549"/>
                <a:gd name="T4" fmla="*/ 7917 w 7917"/>
                <a:gd name="T5" fmla="*/ 15549 h 15549"/>
                <a:gd name="T6" fmla="*/ 7917 w 7917"/>
                <a:gd name="T7" fmla="*/ 3909 h 15549"/>
                <a:gd name="T8" fmla="*/ 7917 w 7917"/>
                <a:gd name="T9" fmla="*/ 0 h 15549"/>
                <a:gd name="T10" fmla="*/ 0 w 7917"/>
                <a:gd name="T11" fmla="*/ 0 h 15549"/>
                <a:gd name="T12" fmla="*/ 0 w 7917"/>
                <a:gd name="T13" fmla="*/ 3909 h 15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17" h="15549">
                  <a:moveTo>
                    <a:pt x="0" y="3909"/>
                  </a:moveTo>
                  <a:lnTo>
                    <a:pt x="0" y="15549"/>
                  </a:lnTo>
                  <a:lnTo>
                    <a:pt x="7917" y="15549"/>
                  </a:lnTo>
                  <a:lnTo>
                    <a:pt x="7917" y="3909"/>
                  </a:lnTo>
                  <a:lnTo>
                    <a:pt x="7917" y="0"/>
                  </a:lnTo>
                  <a:lnTo>
                    <a:pt x="0" y="0"/>
                  </a:lnTo>
                  <a:lnTo>
                    <a:pt x="0" y="3909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9" name="Freeform 19"/>
            <p:cNvSpPr>
              <a:spLocks/>
            </p:cNvSpPr>
            <p:nvPr/>
          </p:nvSpPr>
          <p:spPr bwMode="auto">
            <a:xfrm>
              <a:off x="5681073" y="2058674"/>
              <a:ext cx="405122" cy="1369619"/>
            </a:xfrm>
            <a:custGeom>
              <a:avLst/>
              <a:gdLst>
                <a:gd name="T0" fmla="*/ 0 w 2424"/>
                <a:gd name="T1" fmla="*/ 7750 h 7750"/>
                <a:gd name="T2" fmla="*/ 0 w 2424"/>
                <a:gd name="T3" fmla="*/ 0 h 7750"/>
                <a:gd name="T4" fmla="*/ 2 w 2424"/>
                <a:gd name="T5" fmla="*/ 0 h 7750"/>
                <a:gd name="T6" fmla="*/ 2424 w 2424"/>
                <a:gd name="T7" fmla="*/ 1940 h 7750"/>
                <a:gd name="T8" fmla="*/ 2424 w 2424"/>
                <a:gd name="T9" fmla="*/ 7750 h 7750"/>
                <a:gd name="T10" fmla="*/ 0 w 2424"/>
                <a:gd name="T11" fmla="*/ 7750 h 7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4" h="7750">
                  <a:moveTo>
                    <a:pt x="0" y="775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424" y="1940"/>
                  </a:lnTo>
                  <a:lnTo>
                    <a:pt x="2424" y="7750"/>
                  </a:lnTo>
                  <a:lnTo>
                    <a:pt x="0" y="77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0" name="Rectangle 20"/>
            <p:cNvSpPr>
              <a:spLocks noChangeArrowheads="1"/>
            </p:cNvSpPr>
            <p:nvPr/>
          </p:nvSpPr>
          <p:spPr bwMode="auto">
            <a:xfrm>
              <a:off x="6086195" y="2401078"/>
              <a:ext cx="1334364" cy="1027214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1" name="Freeform 21"/>
            <p:cNvSpPr>
              <a:spLocks/>
            </p:cNvSpPr>
            <p:nvPr userDrawn="1"/>
          </p:nvSpPr>
          <p:spPr bwMode="auto">
            <a:xfrm>
              <a:off x="5681073" y="0"/>
              <a:ext cx="405122" cy="2401078"/>
            </a:xfrm>
            <a:custGeom>
              <a:avLst/>
              <a:gdLst>
                <a:gd name="T0" fmla="*/ 2424 w 2424"/>
                <a:gd name="T1" fmla="*/ 13578 h 13578"/>
                <a:gd name="T2" fmla="*/ 2 w 2424"/>
                <a:gd name="T3" fmla="*/ 11638 h 13578"/>
                <a:gd name="T4" fmla="*/ 0 w 2424"/>
                <a:gd name="T5" fmla="*/ 11638 h 13578"/>
                <a:gd name="T6" fmla="*/ 0 w 2424"/>
                <a:gd name="T7" fmla="*/ 0 h 13578"/>
                <a:gd name="T8" fmla="*/ 2 w 2424"/>
                <a:gd name="T9" fmla="*/ 0 h 13578"/>
                <a:gd name="T10" fmla="*/ 2424 w 2424"/>
                <a:gd name="T11" fmla="*/ 0 h 13578"/>
                <a:gd name="T12" fmla="*/ 2424 w 2424"/>
                <a:gd name="T13" fmla="*/ 5774 h 13578"/>
                <a:gd name="T14" fmla="*/ 2424 w 2424"/>
                <a:gd name="T15" fmla="*/ 13578 h 13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24" h="13578">
                  <a:moveTo>
                    <a:pt x="2424" y="13578"/>
                  </a:moveTo>
                  <a:lnTo>
                    <a:pt x="2" y="11638"/>
                  </a:lnTo>
                  <a:lnTo>
                    <a:pt x="0" y="11638"/>
                  </a:lnTo>
                  <a:lnTo>
                    <a:pt x="0" y="0"/>
                  </a:lnTo>
                  <a:lnTo>
                    <a:pt x="2" y="0"/>
                  </a:lnTo>
                  <a:lnTo>
                    <a:pt x="2424" y="0"/>
                  </a:lnTo>
                  <a:lnTo>
                    <a:pt x="2424" y="5774"/>
                  </a:lnTo>
                  <a:lnTo>
                    <a:pt x="2424" y="13578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2" name="Freeform 22"/>
            <p:cNvSpPr>
              <a:spLocks/>
            </p:cNvSpPr>
            <p:nvPr/>
          </p:nvSpPr>
          <p:spPr bwMode="auto">
            <a:xfrm>
              <a:off x="6086195" y="0"/>
              <a:ext cx="1334364" cy="2401078"/>
            </a:xfrm>
            <a:custGeom>
              <a:avLst/>
              <a:gdLst>
                <a:gd name="T0" fmla="*/ 7982 w 7982"/>
                <a:gd name="T1" fmla="*/ 13578 h 13578"/>
                <a:gd name="T2" fmla="*/ 0 w 7982"/>
                <a:gd name="T3" fmla="*/ 13578 h 13578"/>
                <a:gd name="T4" fmla="*/ 0 w 7982"/>
                <a:gd name="T5" fmla="*/ 5774 h 13578"/>
                <a:gd name="T6" fmla="*/ 0 w 7982"/>
                <a:gd name="T7" fmla="*/ 0 h 13578"/>
                <a:gd name="T8" fmla="*/ 7982 w 7982"/>
                <a:gd name="T9" fmla="*/ 0 h 13578"/>
                <a:gd name="T10" fmla="*/ 7982 w 7982"/>
                <a:gd name="T11" fmla="*/ 5774 h 13578"/>
                <a:gd name="T12" fmla="*/ 7982 w 7982"/>
                <a:gd name="T13" fmla="*/ 13578 h 13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82" h="13578">
                  <a:moveTo>
                    <a:pt x="7982" y="13578"/>
                  </a:moveTo>
                  <a:lnTo>
                    <a:pt x="0" y="13578"/>
                  </a:lnTo>
                  <a:lnTo>
                    <a:pt x="0" y="5774"/>
                  </a:lnTo>
                  <a:lnTo>
                    <a:pt x="0" y="0"/>
                  </a:lnTo>
                  <a:lnTo>
                    <a:pt x="7982" y="0"/>
                  </a:lnTo>
                  <a:lnTo>
                    <a:pt x="7982" y="5774"/>
                  </a:lnTo>
                  <a:lnTo>
                    <a:pt x="7982" y="13578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3" name="Freeform 23"/>
            <p:cNvSpPr>
              <a:spLocks/>
            </p:cNvSpPr>
            <p:nvPr/>
          </p:nvSpPr>
          <p:spPr bwMode="auto">
            <a:xfrm>
              <a:off x="7420559" y="2401078"/>
              <a:ext cx="400443" cy="1027214"/>
            </a:xfrm>
            <a:custGeom>
              <a:avLst/>
              <a:gdLst>
                <a:gd name="T0" fmla="*/ 0 w 2397"/>
                <a:gd name="T1" fmla="*/ 0 h 5810"/>
                <a:gd name="T2" fmla="*/ 1 w 2397"/>
                <a:gd name="T3" fmla="*/ 0 h 5810"/>
                <a:gd name="T4" fmla="*/ 2397 w 2397"/>
                <a:gd name="T5" fmla="*/ 1970 h 5810"/>
                <a:gd name="T6" fmla="*/ 2397 w 2397"/>
                <a:gd name="T7" fmla="*/ 5810 h 5810"/>
                <a:gd name="T8" fmla="*/ 0 w 2397"/>
                <a:gd name="T9" fmla="*/ 5810 h 5810"/>
                <a:gd name="T10" fmla="*/ 0 w 2397"/>
                <a:gd name="T11" fmla="*/ 0 h 5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7" h="5810">
                  <a:moveTo>
                    <a:pt x="0" y="0"/>
                  </a:moveTo>
                  <a:lnTo>
                    <a:pt x="1" y="0"/>
                  </a:lnTo>
                  <a:lnTo>
                    <a:pt x="2397" y="1970"/>
                  </a:lnTo>
                  <a:lnTo>
                    <a:pt x="2397" y="5810"/>
                  </a:lnTo>
                  <a:lnTo>
                    <a:pt x="0" y="5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4" name="Freeform 24"/>
            <p:cNvSpPr>
              <a:spLocks/>
            </p:cNvSpPr>
            <p:nvPr userDrawn="1"/>
          </p:nvSpPr>
          <p:spPr bwMode="auto">
            <a:xfrm>
              <a:off x="7420559" y="0"/>
              <a:ext cx="400443" cy="2750557"/>
            </a:xfrm>
            <a:custGeom>
              <a:avLst/>
              <a:gdLst>
                <a:gd name="T0" fmla="*/ 2397 w 2397"/>
                <a:gd name="T1" fmla="*/ 15548 h 15548"/>
                <a:gd name="T2" fmla="*/ 1 w 2397"/>
                <a:gd name="T3" fmla="*/ 13578 h 15548"/>
                <a:gd name="T4" fmla="*/ 0 w 2397"/>
                <a:gd name="T5" fmla="*/ 13578 h 15548"/>
                <a:gd name="T6" fmla="*/ 0 w 2397"/>
                <a:gd name="T7" fmla="*/ 5774 h 15548"/>
                <a:gd name="T8" fmla="*/ 0 w 2397"/>
                <a:gd name="T9" fmla="*/ 0 h 15548"/>
                <a:gd name="T10" fmla="*/ 2397 w 2397"/>
                <a:gd name="T11" fmla="*/ 0 h 15548"/>
                <a:gd name="T12" fmla="*/ 2397 w 2397"/>
                <a:gd name="T13" fmla="*/ 11638 h 15548"/>
                <a:gd name="T14" fmla="*/ 2397 w 2397"/>
                <a:gd name="T15" fmla="*/ 15548 h 15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97" h="15548">
                  <a:moveTo>
                    <a:pt x="2397" y="15548"/>
                  </a:moveTo>
                  <a:lnTo>
                    <a:pt x="1" y="13578"/>
                  </a:lnTo>
                  <a:lnTo>
                    <a:pt x="0" y="13578"/>
                  </a:lnTo>
                  <a:lnTo>
                    <a:pt x="0" y="5774"/>
                  </a:lnTo>
                  <a:lnTo>
                    <a:pt x="0" y="0"/>
                  </a:lnTo>
                  <a:lnTo>
                    <a:pt x="2397" y="0"/>
                  </a:lnTo>
                  <a:lnTo>
                    <a:pt x="2397" y="11638"/>
                  </a:lnTo>
                  <a:lnTo>
                    <a:pt x="2397" y="15548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5" name="Rectangle 25"/>
            <p:cNvSpPr>
              <a:spLocks noChangeArrowheads="1"/>
            </p:cNvSpPr>
            <p:nvPr/>
          </p:nvSpPr>
          <p:spPr bwMode="auto">
            <a:xfrm>
              <a:off x="7821001" y="2750557"/>
              <a:ext cx="1322999" cy="677735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6" name="Freeform 26"/>
            <p:cNvSpPr>
              <a:spLocks/>
            </p:cNvSpPr>
            <p:nvPr/>
          </p:nvSpPr>
          <p:spPr bwMode="auto">
            <a:xfrm>
              <a:off x="3379362" y="2058674"/>
              <a:ext cx="2301710" cy="1369619"/>
            </a:xfrm>
            <a:custGeom>
              <a:avLst/>
              <a:gdLst>
                <a:gd name="T0" fmla="*/ 0 w 13770"/>
                <a:gd name="T1" fmla="*/ 7750 h 7750"/>
                <a:gd name="T2" fmla="*/ 0 w 13770"/>
                <a:gd name="T3" fmla="*/ 33 h 7750"/>
                <a:gd name="T4" fmla="*/ 0 w 13770"/>
                <a:gd name="T5" fmla="*/ 0 h 7750"/>
                <a:gd name="T6" fmla="*/ 13770 w 13770"/>
                <a:gd name="T7" fmla="*/ 0 h 7750"/>
                <a:gd name="T8" fmla="*/ 13770 w 13770"/>
                <a:gd name="T9" fmla="*/ 7750 h 7750"/>
                <a:gd name="T10" fmla="*/ 0 w 13770"/>
                <a:gd name="T11" fmla="*/ 7750 h 7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50">
                  <a:moveTo>
                    <a:pt x="0" y="775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13770" y="0"/>
                  </a:lnTo>
                  <a:lnTo>
                    <a:pt x="13770" y="7750"/>
                  </a:lnTo>
                  <a:lnTo>
                    <a:pt x="0" y="7750"/>
                  </a:lnTo>
                  <a:close/>
                </a:path>
              </a:pathLst>
            </a:cu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7" name="Freeform 27"/>
            <p:cNvSpPr>
              <a:spLocks/>
            </p:cNvSpPr>
            <p:nvPr/>
          </p:nvSpPr>
          <p:spPr bwMode="auto">
            <a:xfrm>
              <a:off x="3379362" y="0"/>
              <a:ext cx="2301710" cy="2058674"/>
            </a:xfrm>
            <a:custGeom>
              <a:avLst/>
              <a:gdLst>
                <a:gd name="T0" fmla="*/ 0 w 13770"/>
                <a:gd name="T1" fmla="*/ 11638 h 11638"/>
                <a:gd name="T2" fmla="*/ 0 w 13770"/>
                <a:gd name="T3" fmla="*/ 7824 h 11638"/>
                <a:gd name="T4" fmla="*/ 0 w 13770"/>
                <a:gd name="T5" fmla="*/ 5897 h 11638"/>
                <a:gd name="T6" fmla="*/ 0 w 13770"/>
                <a:gd name="T7" fmla="*/ 0 h 11638"/>
                <a:gd name="T8" fmla="*/ 13770 w 13770"/>
                <a:gd name="T9" fmla="*/ 0 h 11638"/>
                <a:gd name="T10" fmla="*/ 13770 w 13770"/>
                <a:gd name="T11" fmla="*/ 11638 h 11638"/>
                <a:gd name="T12" fmla="*/ 0 w 13770"/>
                <a:gd name="T13" fmla="*/ 11638 h 11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70" h="11638">
                  <a:moveTo>
                    <a:pt x="0" y="11638"/>
                  </a:moveTo>
                  <a:lnTo>
                    <a:pt x="0" y="7824"/>
                  </a:lnTo>
                  <a:lnTo>
                    <a:pt x="0" y="5897"/>
                  </a:lnTo>
                  <a:lnTo>
                    <a:pt x="0" y="0"/>
                  </a:lnTo>
                  <a:lnTo>
                    <a:pt x="13770" y="0"/>
                  </a:lnTo>
                  <a:lnTo>
                    <a:pt x="13770" y="11638"/>
                  </a:lnTo>
                  <a:lnTo>
                    <a:pt x="0" y="11638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8" name="Freeform 28"/>
            <p:cNvSpPr>
              <a:spLocks/>
            </p:cNvSpPr>
            <p:nvPr userDrawn="1"/>
          </p:nvSpPr>
          <p:spPr bwMode="auto">
            <a:xfrm>
              <a:off x="0" y="0"/>
              <a:ext cx="2974909" cy="1042779"/>
            </a:xfrm>
            <a:custGeom>
              <a:avLst/>
              <a:gdLst>
                <a:gd name="T0" fmla="*/ 17799 w 17799"/>
                <a:gd name="T1" fmla="*/ 5897 h 5897"/>
                <a:gd name="T2" fmla="*/ 0 w 17799"/>
                <a:gd name="T3" fmla="*/ 5897 h 5897"/>
                <a:gd name="T4" fmla="*/ 0 w 17799"/>
                <a:gd name="T5" fmla="*/ 0 h 5897"/>
                <a:gd name="T6" fmla="*/ 17799 w 17799"/>
                <a:gd name="T7" fmla="*/ 0 h 5897"/>
                <a:gd name="T8" fmla="*/ 17799 w 17799"/>
                <a:gd name="T9" fmla="*/ 5884 h 5897"/>
                <a:gd name="T10" fmla="*/ 17799 w 17799"/>
                <a:gd name="T11" fmla="*/ 5897 h 5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99" h="5897">
                  <a:moveTo>
                    <a:pt x="17799" y="5897"/>
                  </a:moveTo>
                  <a:lnTo>
                    <a:pt x="0" y="5897"/>
                  </a:lnTo>
                  <a:lnTo>
                    <a:pt x="0" y="0"/>
                  </a:lnTo>
                  <a:lnTo>
                    <a:pt x="17799" y="0"/>
                  </a:lnTo>
                  <a:lnTo>
                    <a:pt x="17799" y="5884"/>
                  </a:lnTo>
                  <a:lnTo>
                    <a:pt x="17799" y="5897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9" name="Freeform 29"/>
            <p:cNvSpPr>
              <a:spLocks/>
            </p:cNvSpPr>
            <p:nvPr/>
          </p:nvSpPr>
          <p:spPr bwMode="auto">
            <a:xfrm>
              <a:off x="2974909" y="1042779"/>
              <a:ext cx="404454" cy="2385514"/>
            </a:xfrm>
            <a:custGeom>
              <a:avLst/>
              <a:gdLst>
                <a:gd name="T0" fmla="*/ 0 w 2423"/>
                <a:gd name="T1" fmla="*/ 13491 h 13491"/>
                <a:gd name="T2" fmla="*/ 0 w 2423"/>
                <a:gd name="T3" fmla="*/ 0 h 13491"/>
                <a:gd name="T4" fmla="*/ 1 w 2423"/>
                <a:gd name="T5" fmla="*/ 0 h 13491"/>
                <a:gd name="T6" fmla="*/ 2423 w 2423"/>
                <a:gd name="T7" fmla="*/ 5774 h 13491"/>
                <a:gd name="T8" fmla="*/ 2423 w 2423"/>
                <a:gd name="T9" fmla="*/ 13491 h 13491"/>
                <a:gd name="T10" fmla="*/ 0 w 2423"/>
                <a:gd name="T11" fmla="*/ 13491 h 13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3" h="13491">
                  <a:moveTo>
                    <a:pt x="0" y="1349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423" y="5774"/>
                  </a:lnTo>
                  <a:lnTo>
                    <a:pt x="2423" y="13491"/>
                  </a:lnTo>
                  <a:lnTo>
                    <a:pt x="0" y="1349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0" name="Freeform 30"/>
            <p:cNvSpPr>
              <a:spLocks/>
            </p:cNvSpPr>
            <p:nvPr userDrawn="1"/>
          </p:nvSpPr>
          <p:spPr bwMode="auto">
            <a:xfrm>
              <a:off x="2974909" y="0"/>
              <a:ext cx="404454" cy="2064333"/>
            </a:xfrm>
            <a:custGeom>
              <a:avLst/>
              <a:gdLst>
                <a:gd name="T0" fmla="*/ 2423 w 2423"/>
                <a:gd name="T1" fmla="*/ 7824 h 11671"/>
                <a:gd name="T2" fmla="*/ 2423 w 2423"/>
                <a:gd name="T3" fmla="*/ 11638 h 11671"/>
                <a:gd name="T4" fmla="*/ 2423 w 2423"/>
                <a:gd name="T5" fmla="*/ 11671 h 11671"/>
                <a:gd name="T6" fmla="*/ 1 w 2423"/>
                <a:gd name="T7" fmla="*/ 5897 h 11671"/>
                <a:gd name="T8" fmla="*/ 17 w 2423"/>
                <a:gd name="T9" fmla="*/ 5897 h 11671"/>
                <a:gd name="T10" fmla="*/ 1 w 2423"/>
                <a:gd name="T11" fmla="*/ 5884 h 11671"/>
                <a:gd name="T12" fmla="*/ 0 w 2423"/>
                <a:gd name="T13" fmla="*/ 5884 h 11671"/>
                <a:gd name="T14" fmla="*/ 0 w 2423"/>
                <a:gd name="T15" fmla="*/ 0 h 11671"/>
                <a:gd name="T16" fmla="*/ 1 w 2423"/>
                <a:gd name="T17" fmla="*/ 0 h 11671"/>
                <a:gd name="T18" fmla="*/ 2423 w 2423"/>
                <a:gd name="T19" fmla="*/ 0 h 11671"/>
                <a:gd name="T20" fmla="*/ 2423 w 2423"/>
                <a:gd name="T21" fmla="*/ 5897 h 11671"/>
                <a:gd name="T22" fmla="*/ 2423 w 2423"/>
                <a:gd name="T23" fmla="*/ 7824 h 1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3" h="11671">
                  <a:moveTo>
                    <a:pt x="2423" y="7824"/>
                  </a:moveTo>
                  <a:lnTo>
                    <a:pt x="2423" y="11638"/>
                  </a:lnTo>
                  <a:lnTo>
                    <a:pt x="2423" y="11671"/>
                  </a:lnTo>
                  <a:lnTo>
                    <a:pt x="1" y="5897"/>
                  </a:lnTo>
                  <a:lnTo>
                    <a:pt x="17" y="5897"/>
                  </a:lnTo>
                  <a:lnTo>
                    <a:pt x="1" y="5884"/>
                  </a:lnTo>
                  <a:lnTo>
                    <a:pt x="0" y="5884"/>
                  </a:lnTo>
                  <a:lnTo>
                    <a:pt x="0" y="0"/>
                  </a:lnTo>
                  <a:lnTo>
                    <a:pt x="1" y="0"/>
                  </a:lnTo>
                  <a:lnTo>
                    <a:pt x="2423" y="0"/>
                  </a:lnTo>
                  <a:lnTo>
                    <a:pt x="2423" y="5897"/>
                  </a:lnTo>
                  <a:lnTo>
                    <a:pt x="2423" y="7824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0" y="1042779"/>
              <a:ext cx="2974909" cy="2385514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2" name="Freeform 32"/>
            <p:cNvSpPr>
              <a:spLocks/>
            </p:cNvSpPr>
            <p:nvPr/>
          </p:nvSpPr>
          <p:spPr bwMode="auto">
            <a:xfrm>
              <a:off x="7821001" y="0"/>
              <a:ext cx="1322999" cy="2750557"/>
            </a:xfrm>
            <a:custGeom>
              <a:avLst/>
              <a:gdLst>
                <a:gd name="T0" fmla="*/ 0 w 7917"/>
                <a:gd name="T1" fmla="*/ 11638 h 15548"/>
                <a:gd name="T2" fmla="*/ 0 w 7917"/>
                <a:gd name="T3" fmla="*/ 0 h 15548"/>
                <a:gd name="T4" fmla="*/ 7917 w 7917"/>
                <a:gd name="T5" fmla="*/ 0 h 15548"/>
                <a:gd name="T6" fmla="*/ 7917 w 7917"/>
                <a:gd name="T7" fmla="*/ 11638 h 15548"/>
                <a:gd name="T8" fmla="*/ 7917 w 7917"/>
                <a:gd name="T9" fmla="*/ 15548 h 15548"/>
                <a:gd name="T10" fmla="*/ 0 w 7917"/>
                <a:gd name="T11" fmla="*/ 15548 h 15548"/>
                <a:gd name="T12" fmla="*/ 0 w 7917"/>
                <a:gd name="T13" fmla="*/ 11638 h 15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17" h="15548">
                  <a:moveTo>
                    <a:pt x="0" y="11638"/>
                  </a:moveTo>
                  <a:lnTo>
                    <a:pt x="0" y="0"/>
                  </a:lnTo>
                  <a:lnTo>
                    <a:pt x="7917" y="0"/>
                  </a:lnTo>
                  <a:lnTo>
                    <a:pt x="7917" y="11638"/>
                  </a:lnTo>
                  <a:lnTo>
                    <a:pt x="7917" y="15548"/>
                  </a:lnTo>
                  <a:lnTo>
                    <a:pt x="0" y="15548"/>
                  </a:lnTo>
                  <a:lnTo>
                    <a:pt x="0" y="11638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39" y="3531201"/>
            <a:ext cx="3744416" cy="219004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39" y="1145687"/>
            <a:ext cx="3744416" cy="2177310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None/>
              <a:defRPr lang="en-US"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indent="0" algn="ctr"/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396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Blue/Turquoise/Yellow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/>
          <p:cNvGrpSpPr/>
          <p:nvPr userDrawn="1"/>
        </p:nvGrpSpPr>
        <p:grpSpPr>
          <a:xfrm>
            <a:off x="0" y="0"/>
            <a:ext cx="12192000" cy="6858000"/>
            <a:chOff x="-21347113" y="-7572375"/>
            <a:chExt cx="21347113" cy="7573963"/>
          </a:xfrm>
        </p:grpSpPr>
        <p:sp>
          <p:nvSpPr>
            <p:cNvPr id="34" name="Freeform 22"/>
            <p:cNvSpPr>
              <a:spLocks/>
            </p:cNvSpPr>
            <p:nvPr/>
          </p:nvSpPr>
          <p:spPr bwMode="auto">
            <a:xfrm>
              <a:off x="-9607550" y="-5054600"/>
              <a:ext cx="1123950" cy="2530475"/>
            </a:xfrm>
            <a:custGeom>
              <a:avLst/>
              <a:gdLst>
                <a:gd name="T0" fmla="*/ 2832 w 2832"/>
                <a:gd name="T1" fmla="*/ 10630 h 12751"/>
                <a:gd name="T2" fmla="*/ 2832 w 2832"/>
                <a:gd name="T3" fmla="*/ 2121 h 12751"/>
                <a:gd name="T4" fmla="*/ 3 w 2832"/>
                <a:gd name="T5" fmla="*/ 0 h 12751"/>
                <a:gd name="T6" fmla="*/ 0 w 2832"/>
                <a:gd name="T7" fmla="*/ 0 h 12751"/>
                <a:gd name="T8" fmla="*/ 0 w 2832"/>
                <a:gd name="T9" fmla="*/ 12751 h 12751"/>
                <a:gd name="T10" fmla="*/ 3 w 2832"/>
                <a:gd name="T11" fmla="*/ 12751 h 12751"/>
                <a:gd name="T12" fmla="*/ 2832 w 2832"/>
                <a:gd name="T13" fmla="*/ 10630 h 12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2" h="12751">
                  <a:moveTo>
                    <a:pt x="2832" y="10630"/>
                  </a:moveTo>
                  <a:lnTo>
                    <a:pt x="2832" y="2121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2751"/>
                  </a:lnTo>
                  <a:lnTo>
                    <a:pt x="3" y="12751"/>
                  </a:lnTo>
                  <a:lnTo>
                    <a:pt x="2832" y="106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5" name="Freeform 23"/>
            <p:cNvSpPr>
              <a:spLocks/>
            </p:cNvSpPr>
            <p:nvPr/>
          </p:nvSpPr>
          <p:spPr bwMode="auto">
            <a:xfrm>
              <a:off x="-9607550" y="-2946400"/>
              <a:ext cx="1123950" cy="2947988"/>
            </a:xfrm>
            <a:custGeom>
              <a:avLst/>
              <a:gdLst>
                <a:gd name="T0" fmla="*/ 2832 w 2832"/>
                <a:gd name="T1" fmla="*/ 0 h 14852"/>
                <a:gd name="T2" fmla="*/ 3 w 2832"/>
                <a:gd name="T3" fmla="*/ 2121 h 14852"/>
                <a:gd name="T4" fmla="*/ 0 w 2832"/>
                <a:gd name="T5" fmla="*/ 2121 h 14852"/>
                <a:gd name="T6" fmla="*/ 0 w 2832"/>
                <a:gd name="T7" fmla="*/ 14852 h 14852"/>
                <a:gd name="T8" fmla="*/ 3 w 2832"/>
                <a:gd name="T9" fmla="*/ 14852 h 14852"/>
                <a:gd name="T10" fmla="*/ 2832 w 2832"/>
                <a:gd name="T11" fmla="*/ 8536 h 14852"/>
                <a:gd name="T12" fmla="*/ 2832 w 2832"/>
                <a:gd name="T13" fmla="*/ 0 h 14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2" h="14852">
                  <a:moveTo>
                    <a:pt x="2832" y="0"/>
                  </a:moveTo>
                  <a:lnTo>
                    <a:pt x="3" y="2121"/>
                  </a:lnTo>
                  <a:lnTo>
                    <a:pt x="0" y="2121"/>
                  </a:lnTo>
                  <a:lnTo>
                    <a:pt x="0" y="14852"/>
                  </a:lnTo>
                  <a:lnTo>
                    <a:pt x="3" y="14852"/>
                  </a:lnTo>
                  <a:lnTo>
                    <a:pt x="2832" y="8536"/>
                  </a:lnTo>
                  <a:lnTo>
                    <a:pt x="2832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6" name="Rectangle 24"/>
            <p:cNvSpPr>
              <a:spLocks noChangeArrowheads="1"/>
            </p:cNvSpPr>
            <p:nvPr/>
          </p:nvSpPr>
          <p:spPr bwMode="auto">
            <a:xfrm>
              <a:off x="-8483600" y="-1252537"/>
              <a:ext cx="3700463" cy="1254125"/>
            </a:xfrm>
            <a:prstGeom prst="rect">
              <a:avLst/>
            </a:pr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3" name="Rectangle 25"/>
            <p:cNvSpPr>
              <a:spLocks noChangeArrowheads="1"/>
            </p:cNvSpPr>
            <p:nvPr/>
          </p:nvSpPr>
          <p:spPr bwMode="auto">
            <a:xfrm>
              <a:off x="-8483600" y="-4633912"/>
              <a:ext cx="3700463" cy="1687513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4" name="Freeform 26"/>
            <p:cNvSpPr>
              <a:spLocks/>
            </p:cNvSpPr>
            <p:nvPr/>
          </p:nvSpPr>
          <p:spPr bwMode="auto">
            <a:xfrm>
              <a:off x="-9607550" y="-1252537"/>
              <a:ext cx="1123950" cy="1254125"/>
            </a:xfrm>
            <a:custGeom>
              <a:avLst/>
              <a:gdLst>
                <a:gd name="T0" fmla="*/ 0 w 2829"/>
                <a:gd name="T1" fmla="*/ 6316 h 6316"/>
                <a:gd name="T2" fmla="*/ 2829 w 2829"/>
                <a:gd name="T3" fmla="*/ 6316 h 6316"/>
                <a:gd name="T4" fmla="*/ 2829 w 2829"/>
                <a:gd name="T5" fmla="*/ 0 h 6316"/>
                <a:gd name="T6" fmla="*/ 0 w 2829"/>
                <a:gd name="T7" fmla="*/ 6316 h 6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29" h="6316">
                  <a:moveTo>
                    <a:pt x="0" y="6316"/>
                  </a:moveTo>
                  <a:lnTo>
                    <a:pt x="2829" y="6316"/>
                  </a:lnTo>
                  <a:lnTo>
                    <a:pt x="2829" y="0"/>
                  </a:lnTo>
                  <a:lnTo>
                    <a:pt x="0" y="6316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5" name="Rectangle 27"/>
            <p:cNvSpPr>
              <a:spLocks noChangeArrowheads="1"/>
            </p:cNvSpPr>
            <p:nvPr/>
          </p:nvSpPr>
          <p:spPr bwMode="auto">
            <a:xfrm>
              <a:off x="-8483600" y="-6318250"/>
              <a:ext cx="3700463" cy="1684338"/>
            </a:xfrm>
            <a:prstGeom prst="rect">
              <a:avLst/>
            </a:pr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6" name="Rectangle 28"/>
            <p:cNvSpPr>
              <a:spLocks noChangeArrowheads="1"/>
            </p:cNvSpPr>
            <p:nvPr/>
          </p:nvSpPr>
          <p:spPr bwMode="auto">
            <a:xfrm>
              <a:off x="-8483600" y="-2946400"/>
              <a:ext cx="3700463" cy="1693863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7" name="Freeform 29"/>
            <p:cNvSpPr>
              <a:spLocks/>
            </p:cNvSpPr>
            <p:nvPr/>
          </p:nvSpPr>
          <p:spPr bwMode="auto">
            <a:xfrm>
              <a:off x="-4783138" y="-3373437"/>
              <a:ext cx="1111250" cy="2120900"/>
            </a:xfrm>
            <a:custGeom>
              <a:avLst/>
              <a:gdLst>
                <a:gd name="T0" fmla="*/ 0 w 2801"/>
                <a:gd name="T1" fmla="*/ 2155 h 10691"/>
                <a:gd name="T2" fmla="*/ 0 w 2801"/>
                <a:gd name="T3" fmla="*/ 10691 h 10691"/>
                <a:gd name="T4" fmla="*/ 2 w 2801"/>
                <a:gd name="T5" fmla="*/ 10691 h 10691"/>
                <a:gd name="T6" fmla="*/ 2801 w 2801"/>
                <a:gd name="T7" fmla="*/ 4276 h 10691"/>
                <a:gd name="T8" fmla="*/ 2801 w 2801"/>
                <a:gd name="T9" fmla="*/ 0 h 10691"/>
                <a:gd name="T10" fmla="*/ 2 w 2801"/>
                <a:gd name="T11" fmla="*/ 2155 h 10691"/>
                <a:gd name="T12" fmla="*/ 0 w 2801"/>
                <a:gd name="T13" fmla="*/ 2155 h 10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1" h="10691">
                  <a:moveTo>
                    <a:pt x="0" y="2155"/>
                  </a:moveTo>
                  <a:lnTo>
                    <a:pt x="0" y="10691"/>
                  </a:lnTo>
                  <a:lnTo>
                    <a:pt x="2" y="10691"/>
                  </a:lnTo>
                  <a:lnTo>
                    <a:pt x="2801" y="4276"/>
                  </a:lnTo>
                  <a:lnTo>
                    <a:pt x="2801" y="0"/>
                  </a:lnTo>
                  <a:lnTo>
                    <a:pt x="2" y="2155"/>
                  </a:lnTo>
                  <a:lnTo>
                    <a:pt x="0" y="2155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8" name="Freeform 30"/>
            <p:cNvSpPr>
              <a:spLocks/>
            </p:cNvSpPr>
            <p:nvPr/>
          </p:nvSpPr>
          <p:spPr bwMode="auto">
            <a:xfrm>
              <a:off x="-4783138" y="-6318250"/>
              <a:ext cx="1111250" cy="2111375"/>
            </a:xfrm>
            <a:custGeom>
              <a:avLst/>
              <a:gdLst>
                <a:gd name="T0" fmla="*/ 2 w 2801"/>
                <a:gd name="T1" fmla="*/ 8488 h 10643"/>
                <a:gd name="T2" fmla="*/ 2801 w 2801"/>
                <a:gd name="T3" fmla="*/ 10643 h 10643"/>
                <a:gd name="T4" fmla="*/ 2801 w 2801"/>
                <a:gd name="T5" fmla="*/ 6415 h 10643"/>
                <a:gd name="T6" fmla="*/ 2 w 2801"/>
                <a:gd name="T7" fmla="*/ 0 h 10643"/>
                <a:gd name="T8" fmla="*/ 0 w 2801"/>
                <a:gd name="T9" fmla="*/ 0 h 10643"/>
                <a:gd name="T10" fmla="*/ 0 w 2801"/>
                <a:gd name="T11" fmla="*/ 8488 h 10643"/>
                <a:gd name="T12" fmla="*/ 2 w 2801"/>
                <a:gd name="T13" fmla="*/ 8488 h 10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1" h="10643">
                  <a:moveTo>
                    <a:pt x="2" y="8488"/>
                  </a:moveTo>
                  <a:lnTo>
                    <a:pt x="2801" y="10643"/>
                  </a:lnTo>
                  <a:lnTo>
                    <a:pt x="2801" y="6415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8488"/>
                  </a:lnTo>
                  <a:lnTo>
                    <a:pt x="2" y="8488"/>
                  </a:lnTo>
                  <a:close/>
                </a:path>
              </a:pathLst>
            </a:custGeom>
            <a:solidFill>
              <a:srgbClr val="0083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9" name="Freeform 31"/>
            <p:cNvSpPr>
              <a:spLocks/>
            </p:cNvSpPr>
            <p:nvPr/>
          </p:nvSpPr>
          <p:spPr bwMode="auto">
            <a:xfrm>
              <a:off x="-4783138" y="-4633912"/>
              <a:ext cx="1111250" cy="1687513"/>
            </a:xfrm>
            <a:custGeom>
              <a:avLst/>
              <a:gdLst>
                <a:gd name="T0" fmla="*/ 0 w 2801"/>
                <a:gd name="T1" fmla="*/ 0 h 8509"/>
                <a:gd name="T2" fmla="*/ 0 w 2801"/>
                <a:gd name="T3" fmla="*/ 8509 h 8509"/>
                <a:gd name="T4" fmla="*/ 2 w 2801"/>
                <a:gd name="T5" fmla="*/ 8509 h 8509"/>
                <a:gd name="T6" fmla="*/ 2801 w 2801"/>
                <a:gd name="T7" fmla="*/ 6354 h 8509"/>
                <a:gd name="T8" fmla="*/ 2801 w 2801"/>
                <a:gd name="T9" fmla="*/ 2155 h 8509"/>
                <a:gd name="T10" fmla="*/ 2 w 2801"/>
                <a:gd name="T11" fmla="*/ 0 h 8509"/>
                <a:gd name="T12" fmla="*/ 0 w 2801"/>
                <a:gd name="T13" fmla="*/ 0 h 8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1" h="8509">
                  <a:moveTo>
                    <a:pt x="0" y="0"/>
                  </a:moveTo>
                  <a:lnTo>
                    <a:pt x="0" y="8509"/>
                  </a:lnTo>
                  <a:lnTo>
                    <a:pt x="2" y="8509"/>
                  </a:lnTo>
                  <a:lnTo>
                    <a:pt x="2801" y="6354"/>
                  </a:lnTo>
                  <a:lnTo>
                    <a:pt x="2801" y="2155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0" name="Freeform 32"/>
            <p:cNvSpPr>
              <a:spLocks/>
            </p:cNvSpPr>
            <p:nvPr/>
          </p:nvSpPr>
          <p:spPr bwMode="auto">
            <a:xfrm>
              <a:off x="-4783138" y="-2524125"/>
              <a:ext cx="1111250" cy="2525713"/>
            </a:xfrm>
            <a:custGeom>
              <a:avLst/>
              <a:gdLst>
                <a:gd name="T0" fmla="*/ 2 w 2801"/>
                <a:gd name="T1" fmla="*/ 6415 h 12731"/>
                <a:gd name="T2" fmla="*/ 0 w 2801"/>
                <a:gd name="T3" fmla="*/ 6415 h 12731"/>
                <a:gd name="T4" fmla="*/ 0 w 2801"/>
                <a:gd name="T5" fmla="*/ 12731 h 12731"/>
                <a:gd name="T6" fmla="*/ 2801 w 2801"/>
                <a:gd name="T7" fmla="*/ 12731 h 12731"/>
                <a:gd name="T8" fmla="*/ 2801 w 2801"/>
                <a:gd name="T9" fmla="*/ 0 h 12731"/>
                <a:gd name="T10" fmla="*/ 2 w 2801"/>
                <a:gd name="T11" fmla="*/ 6415 h 12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01" h="12731">
                  <a:moveTo>
                    <a:pt x="2" y="6415"/>
                  </a:moveTo>
                  <a:lnTo>
                    <a:pt x="0" y="6415"/>
                  </a:lnTo>
                  <a:lnTo>
                    <a:pt x="0" y="12731"/>
                  </a:lnTo>
                  <a:lnTo>
                    <a:pt x="2801" y="12731"/>
                  </a:lnTo>
                  <a:lnTo>
                    <a:pt x="2801" y="0"/>
                  </a:lnTo>
                  <a:lnTo>
                    <a:pt x="2" y="6415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1" name="Rectangle 33"/>
            <p:cNvSpPr>
              <a:spLocks noChangeArrowheads="1"/>
            </p:cNvSpPr>
            <p:nvPr/>
          </p:nvSpPr>
          <p:spPr bwMode="auto">
            <a:xfrm>
              <a:off x="-3671888" y="-4206875"/>
              <a:ext cx="3671888" cy="833439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2" name="Rectangle 34"/>
            <p:cNvSpPr>
              <a:spLocks noChangeArrowheads="1"/>
            </p:cNvSpPr>
            <p:nvPr/>
          </p:nvSpPr>
          <p:spPr bwMode="auto">
            <a:xfrm>
              <a:off x="-21347113" y="-7572375"/>
              <a:ext cx="11739563" cy="2517775"/>
            </a:xfrm>
            <a:prstGeom prst="rect">
              <a:avLst/>
            </a:pr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3" name="Freeform 35"/>
            <p:cNvSpPr>
              <a:spLocks/>
            </p:cNvSpPr>
            <p:nvPr/>
          </p:nvSpPr>
          <p:spPr bwMode="auto">
            <a:xfrm>
              <a:off x="-9607550" y="-7572375"/>
              <a:ext cx="1123950" cy="2938463"/>
            </a:xfrm>
            <a:custGeom>
              <a:avLst/>
              <a:gdLst>
                <a:gd name="T0" fmla="*/ 3 w 2832"/>
                <a:gd name="T1" fmla="*/ 12683 h 14804"/>
                <a:gd name="T2" fmla="*/ 2832 w 2832"/>
                <a:gd name="T3" fmla="*/ 14804 h 14804"/>
                <a:gd name="T4" fmla="*/ 2832 w 2832"/>
                <a:gd name="T5" fmla="*/ 6316 h 14804"/>
                <a:gd name="T6" fmla="*/ 3 w 2832"/>
                <a:gd name="T7" fmla="*/ 0 h 14804"/>
                <a:gd name="T8" fmla="*/ 0 w 2832"/>
                <a:gd name="T9" fmla="*/ 0 h 14804"/>
                <a:gd name="T10" fmla="*/ 0 w 2832"/>
                <a:gd name="T11" fmla="*/ 12683 h 14804"/>
                <a:gd name="T12" fmla="*/ 3 w 2832"/>
                <a:gd name="T13" fmla="*/ 12683 h 14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2" h="14804">
                  <a:moveTo>
                    <a:pt x="3" y="12683"/>
                  </a:moveTo>
                  <a:lnTo>
                    <a:pt x="2832" y="14804"/>
                  </a:lnTo>
                  <a:lnTo>
                    <a:pt x="2832" y="631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2683"/>
                  </a:lnTo>
                  <a:lnTo>
                    <a:pt x="3" y="12683"/>
                  </a:lnTo>
                  <a:close/>
                </a:path>
              </a:pathLst>
            </a:custGeom>
            <a:solidFill>
              <a:srgbClr val="0083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4" name="Freeform 36"/>
            <p:cNvSpPr>
              <a:spLocks/>
            </p:cNvSpPr>
            <p:nvPr/>
          </p:nvSpPr>
          <p:spPr bwMode="auto">
            <a:xfrm>
              <a:off x="-9607550" y="-7572375"/>
              <a:ext cx="1123950" cy="1254125"/>
            </a:xfrm>
            <a:custGeom>
              <a:avLst/>
              <a:gdLst>
                <a:gd name="T0" fmla="*/ 2829 w 2829"/>
                <a:gd name="T1" fmla="*/ 0 h 6316"/>
                <a:gd name="T2" fmla="*/ 0 w 2829"/>
                <a:gd name="T3" fmla="*/ 0 h 6316"/>
                <a:gd name="T4" fmla="*/ 2829 w 2829"/>
                <a:gd name="T5" fmla="*/ 6316 h 6316"/>
                <a:gd name="T6" fmla="*/ 2829 w 2829"/>
                <a:gd name="T7" fmla="*/ 0 h 6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29" h="6316">
                  <a:moveTo>
                    <a:pt x="2829" y="0"/>
                  </a:moveTo>
                  <a:lnTo>
                    <a:pt x="0" y="0"/>
                  </a:lnTo>
                  <a:lnTo>
                    <a:pt x="2829" y="6316"/>
                  </a:lnTo>
                  <a:lnTo>
                    <a:pt x="2829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5" name="Rectangle 37"/>
            <p:cNvSpPr>
              <a:spLocks noChangeArrowheads="1"/>
            </p:cNvSpPr>
            <p:nvPr/>
          </p:nvSpPr>
          <p:spPr bwMode="auto">
            <a:xfrm>
              <a:off x="-21347113" y="-5054600"/>
              <a:ext cx="11739563" cy="2530475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6" name="Rectangle 38"/>
            <p:cNvSpPr>
              <a:spLocks noChangeArrowheads="1"/>
            </p:cNvSpPr>
            <p:nvPr/>
          </p:nvSpPr>
          <p:spPr bwMode="auto">
            <a:xfrm>
              <a:off x="-3671888" y="-2524125"/>
              <a:ext cx="3671888" cy="2525713"/>
            </a:xfrm>
            <a:prstGeom prst="rect">
              <a:avLst/>
            </a:pr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7" name="Rectangle 39"/>
            <p:cNvSpPr>
              <a:spLocks noChangeArrowheads="1"/>
            </p:cNvSpPr>
            <p:nvPr/>
          </p:nvSpPr>
          <p:spPr bwMode="auto">
            <a:xfrm>
              <a:off x="-21347113" y="-2524125"/>
              <a:ext cx="11739563" cy="2525713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8" name="Rectangle 40"/>
            <p:cNvSpPr>
              <a:spLocks noChangeArrowheads="1"/>
            </p:cNvSpPr>
            <p:nvPr/>
          </p:nvSpPr>
          <p:spPr bwMode="auto">
            <a:xfrm>
              <a:off x="-3671888" y="-3373438"/>
              <a:ext cx="3671888" cy="849313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9" name="Rectangle 41"/>
            <p:cNvSpPr>
              <a:spLocks noChangeArrowheads="1"/>
            </p:cNvSpPr>
            <p:nvPr/>
          </p:nvSpPr>
          <p:spPr bwMode="auto">
            <a:xfrm>
              <a:off x="-3671888" y="-5045075"/>
              <a:ext cx="3671888" cy="838200"/>
            </a:xfrm>
            <a:prstGeom prst="rect">
              <a:avLst/>
            </a:pr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80" name="Rectangle 42"/>
            <p:cNvSpPr>
              <a:spLocks noChangeArrowheads="1"/>
            </p:cNvSpPr>
            <p:nvPr/>
          </p:nvSpPr>
          <p:spPr bwMode="auto">
            <a:xfrm>
              <a:off x="-3671888" y="-7572375"/>
              <a:ext cx="3671888" cy="2527300"/>
            </a:xfrm>
            <a:prstGeom prst="rect">
              <a:avLst/>
            </a:pr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81" name="Rectangle 43"/>
            <p:cNvSpPr>
              <a:spLocks noChangeArrowheads="1"/>
            </p:cNvSpPr>
            <p:nvPr/>
          </p:nvSpPr>
          <p:spPr bwMode="auto">
            <a:xfrm>
              <a:off x="-8483600" y="-7572375"/>
              <a:ext cx="3700463" cy="1254125"/>
            </a:xfrm>
            <a:prstGeom prst="rect">
              <a:avLst/>
            </a:pr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82" name="Freeform 44"/>
            <p:cNvSpPr>
              <a:spLocks/>
            </p:cNvSpPr>
            <p:nvPr/>
          </p:nvSpPr>
          <p:spPr bwMode="auto">
            <a:xfrm>
              <a:off x="-4783138" y="-7572375"/>
              <a:ext cx="1111250" cy="2527300"/>
            </a:xfrm>
            <a:custGeom>
              <a:avLst/>
              <a:gdLst>
                <a:gd name="T0" fmla="*/ 2 w 2801"/>
                <a:gd name="T1" fmla="*/ 6316 h 12731"/>
                <a:gd name="T2" fmla="*/ 2801 w 2801"/>
                <a:gd name="T3" fmla="*/ 12731 h 12731"/>
                <a:gd name="T4" fmla="*/ 2801 w 2801"/>
                <a:gd name="T5" fmla="*/ 0 h 12731"/>
                <a:gd name="T6" fmla="*/ 0 w 2801"/>
                <a:gd name="T7" fmla="*/ 0 h 12731"/>
                <a:gd name="T8" fmla="*/ 0 w 2801"/>
                <a:gd name="T9" fmla="*/ 6316 h 12731"/>
                <a:gd name="T10" fmla="*/ 2 w 2801"/>
                <a:gd name="T11" fmla="*/ 6316 h 12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01" h="12731">
                  <a:moveTo>
                    <a:pt x="2" y="6316"/>
                  </a:moveTo>
                  <a:lnTo>
                    <a:pt x="2801" y="12731"/>
                  </a:lnTo>
                  <a:lnTo>
                    <a:pt x="2801" y="0"/>
                  </a:lnTo>
                  <a:lnTo>
                    <a:pt x="0" y="0"/>
                  </a:lnTo>
                  <a:lnTo>
                    <a:pt x="0" y="6316"/>
                  </a:lnTo>
                  <a:lnTo>
                    <a:pt x="2" y="6316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39" y="4627404"/>
            <a:ext cx="6336704" cy="2041956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39" y="2318399"/>
            <a:ext cx="6336704" cy="217731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8763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4234" y="1825625"/>
            <a:ext cx="8809567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544232" y="6356353"/>
            <a:ext cx="2743200" cy="365125"/>
          </a:xfrm>
        </p:spPr>
        <p:txBody>
          <a:bodyPr/>
          <a:lstStyle/>
          <a:p>
            <a:fld id="{0D562FD5-D131-4B03-8BFF-80F82A7A1BE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3"/>
            <a:ext cx="52578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" y="0"/>
            <a:ext cx="12191999" cy="1772816"/>
            <a:chOff x="1" y="0"/>
            <a:chExt cx="9143999" cy="1772816"/>
          </a:xfrm>
        </p:grpSpPr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487455" y="0"/>
              <a:ext cx="7656545" cy="1016160"/>
            </a:xfrm>
            <a:custGeom>
              <a:avLst/>
              <a:gdLst>
                <a:gd name="T0" fmla="*/ 0 w 13770"/>
                <a:gd name="T1" fmla="*/ 0 h 7748"/>
                <a:gd name="T2" fmla="*/ 0 w 13770"/>
                <a:gd name="T3" fmla="*/ 7715 h 7748"/>
                <a:gd name="T4" fmla="*/ 0 w 13770"/>
                <a:gd name="T5" fmla="*/ 7748 h 7748"/>
                <a:gd name="T6" fmla="*/ 13770 w 13770"/>
                <a:gd name="T7" fmla="*/ 7748 h 7748"/>
                <a:gd name="T8" fmla="*/ 13770 w 13770"/>
                <a:gd name="T9" fmla="*/ 0 h 7748"/>
                <a:gd name="T10" fmla="*/ 0 w 13770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48">
                  <a:moveTo>
                    <a:pt x="0" y="0"/>
                  </a:moveTo>
                  <a:lnTo>
                    <a:pt x="0" y="7715"/>
                  </a:lnTo>
                  <a:lnTo>
                    <a:pt x="0" y="7748"/>
                  </a:lnTo>
                  <a:lnTo>
                    <a:pt x="13770" y="7748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grpSp>
          <p:nvGrpSpPr>
            <p:cNvPr id="17" name="Group 16"/>
            <p:cNvGrpSpPr/>
            <p:nvPr userDrawn="1"/>
          </p:nvGrpSpPr>
          <p:grpSpPr>
            <a:xfrm>
              <a:off x="1" y="0"/>
              <a:ext cx="1891908" cy="1772816"/>
              <a:chOff x="1" y="0"/>
              <a:chExt cx="1891908" cy="2386930"/>
            </a:xfrm>
          </p:grpSpPr>
          <p:sp>
            <p:nvSpPr>
              <p:cNvPr id="15" name="Freeform 15"/>
              <p:cNvSpPr>
                <a:spLocks/>
              </p:cNvSpPr>
              <p:nvPr userDrawn="1"/>
            </p:nvSpPr>
            <p:spPr bwMode="auto">
              <a:xfrm>
                <a:off x="1487455" y="0"/>
                <a:ext cx="404454" cy="2386930"/>
              </a:xfrm>
              <a:custGeom>
                <a:avLst/>
                <a:gdLst>
                  <a:gd name="T0" fmla="*/ 0 w 2423"/>
                  <a:gd name="T1" fmla="*/ 0 h 13491"/>
                  <a:gd name="T2" fmla="*/ 0 w 2423"/>
                  <a:gd name="T3" fmla="*/ 13491 h 13491"/>
                  <a:gd name="T4" fmla="*/ 1 w 2423"/>
                  <a:gd name="T5" fmla="*/ 13491 h 13491"/>
                  <a:gd name="T6" fmla="*/ 2423 w 2423"/>
                  <a:gd name="T7" fmla="*/ 7715 h 13491"/>
                  <a:gd name="T8" fmla="*/ 2423 w 2423"/>
                  <a:gd name="T9" fmla="*/ 0 h 13491"/>
                  <a:gd name="T10" fmla="*/ 0 w 2423"/>
                  <a:gd name="T11" fmla="*/ 0 h 13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23" h="13491">
                    <a:moveTo>
                      <a:pt x="0" y="0"/>
                    </a:moveTo>
                    <a:lnTo>
                      <a:pt x="0" y="13491"/>
                    </a:lnTo>
                    <a:lnTo>
                      <a:pt x="1" y="13491"/>
                    </a:lnTo>
                    <a:lnTo>
                      <a:pt x="2423" y="7715"/>
                    </a:lnTo>
                    <a:lnTo>
                      <a:pt x="242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A92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Rectangle 17"/>
              <p:cNvSpPr>
                <a:spLocks noChangeArrowheads="1"/>
              </p:cNvSpPr>
              <p:nvPr userDrawn="1"/>
            </p:nvSpPr>
            <p:spPr bwMode="auto">
              <a:xfrm>
                <a:off x="1" y="0"/>
                <a:ext cx="1487454" cy="2386930"/>
              </a:xfrm>
              <a:prstGeom prst="rect">
                <a:avLst/>
              </a:prstGeom>
              <a:solidFill>
                <a:srgbClr val="FDB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2522547" y="7985"/>
            <a:ext cx="9669455" cy="1000189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9349" y="116632"/>
            <a:ext cx="1536171" cy="1529606"/>
          </a:xfrm>
        </p:spPr>
        <p:txBody>
          <a:bodyPr/>
          <a:lstStyle>
            <a:lvl1pPr algn="ctr">
              <a:defRPr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91DABAE8-7677-4DF7-B0C9-2FC996954C4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2522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20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3" y="0"/>
            <a:ext cx="12191999" cy="1772816"/>
            <a:chOff x="1" y="0"/>
            <a:chExt cx="9143999" cy="1772816"/>
          </a:xfrm>
        </p:grpSpPr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487455" y="0"/>
              <a:ext cx="7656545" cy="1016160"/>
            </a:xfrm>
            <a:custGeom>
              <a:avLst/>
              <a:gdLst>
                <a:gd name="T0" fmla="*/ 0 w 13770"/>
                <a:gd name="T1" fmla="*/ 0 h 7748"/>
                <a:gd name="T2" fmla="*/ 0 w 13770"/>
                <a:gd name="T3" fmla="*/ 7715 h 7748"/>
                <a:gd name="T4" fmla="*/ 0 w 13770"/>
                <a:gd name="T5" fmla="*/ 7748 h 7748"/>
                <a:gd name="T6" fmla="*/ 13770 w 13770"/>
                <a:gd name="T7" fmla="*/ 7748 h 7748"/>
                <a:gd name="T8" fmla="*/ 13770 w 13770"/>
                <a:gd name="T9" fmla="*/ 0 h 7748"/>
                <a:gd name="T10" fmla="*/ 0 w 13770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48">
                  <a:moveTo>
                    <a:pt x="0" y="0"/>
                  </a:moveTo>
                  <a:lnTo>
                    <a:pt x="0" y="7715"/>
                  </a:lnTo>
                  <a:lnTo>
                    <a:pt x="0" y="7748"/>
                  </a:lnTo>
                  <a:lnTo>
                    <a:pt x="13770" y="7748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1487455" y="0"/>
              <a:ext cx="404454" cy="1772816"/>
            </a:xfrm>
            <a:custGeom>
              <a:avLst/>
              <a:gdLst>
                <a:gd name="T0" fmla="*/ 0 w 2423"/>
                <a:gd name="T1" fmla="*/ 0 h 13491"/>
                <a:gd name="T2" fmla="*/ 0 w 2423"/>
                <a:gd name="T3" fmla="*/ 13491 h 13491"/>
                <a:gd name="T4" fmla="*/ 1 w 2423"/>
                <a:gd name="T5" fmla="*/ 13491 h 13491"/>
                <a:gd name="T6" fmla="*/ 2423 w 2423"/>
                <a:gd name="T7" fmla="*/ 7715 h 13491"/>
                <a:gd name="T8" fmla="*/ 2423 w 2423"/>
                <a:gd name="T9" fmla="*/ 0 h 13491"/>
                <a:gd name="T10" fmla="*/ 0 w 2423"/>
                <a:gd name="T11" fmla="*/ 0 h 13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3" h="13491">
                  <a:moveTo>
                    <a:pt x="0" y="0"/>
                  </a:moveTo>
                  <a:lnTo>
                    <a:pt x="0" y="13491"/>
                  </a:lnTo>
                  <a:lnTo>
                    <a:pt x="1" y="13491"/>
                  </a:lnTo>
                  <a:lnTo>
                    <a:pt x="2423" y="7715"/>
                  </a:lnTo>
                  <a:lnTo>
                    <a:pt x="24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>
              <a:off x="1" y="0"/>
              <a:ext cx="1487454" cy="1772816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522547" y="7985"/>
            <a:ext cx="9669455" cy="1000189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2544234" y="1825625"/>
            <a:ext cx="8809567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2544232" y="6356353"/>
            <a:ext cx="2743200" cy="365125"/>
          </a:xfrm>
        </p:spPr>
        <p:txBody>
          <a:bodyPr/>
          <a:lstStyle/>
          <a:p>
            <a:fld id="{0D562FD5-D131-4B03-8BFF-80F82A7A1BE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3"/>
            <a:ext cx="52578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9349" y="116632"/>
            <a:ext cx="1536171" cy="1529606"/>
          </a:xfrm>
        </p:spPr>
        <p:txBody>
          <a:bodyPr/>
          <a:lstStyle>
            <a:lvl1pPr algn="ctr">
              <a:defRPr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91DABAE8-7677-4DF7-B0C9-2FC996954C4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446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3" y="0"/>
            <a:ext cx="12191999" cy="1772816"/>
            <a:chOff x="1" y="0"/>
            <a:chExt cx="9143999" cy="1772816"/>
          </a:xfrm>
        </p:grpSpPr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487455" y="0"/>
              <a:ext cx="7656545" cy="1016160"/>
            </a:xfrm>
            <a:custGeom>
              <a:avLst/>
              <a:gdLst>
                <a:gd name="T0" fmla="*/ 0 w 13770"/>
                <a:gd name="T1" fmla="*/ 0 h 7748"/>
                <a:gd name="T2" fmla="*/ 0 w 13770"/>
                <a:gd name="T3" fmla="*/ 7715 h 7748"/>
                <a:gd name="T4" fmla="*/ 0 w 13770"/>
                <a:gd name="T5" fmla="*/ 7748 h 7748"/>
                <a:gd name="T6" fmla="*/ 13770 w 13770"/>
                <a:gd name="T7" fmla="*/ 7748 h 7748"/>
                <a:gd name="T8" fmla="*/ 13770 w 13770"/>
                <a:gd name="T9" fmla="*/ 0 h 7748"/>
                <a:gd name="T10" fmla="*/ 0 w 13770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48">
                  <a:moveTo>
                    <a:pt x="0" y="0"/>
                  </a:moveTo>
                  <a:lnTo>
                    <a:pt x="0" y="7715"/>
                  </a:lnTo>
                  <a:lnTo>
                    <a:pt x="0" y="7748"/>
                  </a:lnTo>
                  <a:lnTo>
                    <a:pt x="13770" y="7748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1487455" y="0"/>
              <a:ext cx="404454" cy="1772816"/>
            </a:xfrm>
            <a:custGeom>
              <a:avLst/>
              <a:gdLst>
                <a:gd name="T0" fmla="*/ 0 w 2423"/>
                <a:gd name="T1" fmla="*/ 0 h 13491"/>
                <a:gd name="T2" fmla="*/ 0 w 2423"/>
                <a:gd name="T3" fmla="*/ 13491 h 13491"/>
                <a:gd name="T4" fmla="*/ 1 w 2423"/>
                <a:gd name="T5" fmla="*/ 13491 h 13491"/>
                <a:gd name="T6" fmla="*/ 2423 w 2423"/>
                <a:gd name="T7" fmla="*/ 7715 h 13491"/>
                <a:gd name="T8" fmla="*/ 2423 w 2423"/>
                <a:gd name="T9" fmla="*/ 0 h 13491"/>
                <a:gd name="T10" fmla="*/ 0 w 2423"/>
                <a:gd name="T11" fmla="*/ 0 h 13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3" h="13491">
                  <a:moveTo>
                    <a:pt x="0" y="0"/>
                  </a:moveTo>
                  <a:lnTo>
                    <a:pt x="0" y="13491"/>
                  </a:lnTo>
                  <a:lnTo>
                    <a:pt x="1" y="13491"/>
                  </a:lnTo>
                  <a:lnTo>
                    <a:pt x="2423" y="7715"/>
                  </a:lnTo>
                  <a:lnTo>
                    <a:pt x="24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>
              <a:off x="1" y="0"/>
              <a:ext cx="1487454" cy="1772816"/>
            </a:xfrm>
            <a:prstGeom prst="rect">
              <a:avLst/>
            </a:pr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2547" y="7985"/>
            <a:ext cx="9669455" cy="1000189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2544234" y="1825625"/>
            <a:ext cx="8809567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2544232" y="6356353"/>
            <a:ext cx="2743200" cy="365125"/>
          </a:xfrm>
        </p:spPr>
        <p:txBody>
          <a:bodyPr/>
          <a:lstStyle/>
          <a:p>
            <a:fld id="{0D562FD5-D131-4B03-8BFF-80F82A7A1BE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3"/>
            <a:ext cx="52578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9349" y="116632"/>
            <a:ext cx="1536171" cy="1529606"/>
          </a:xfrm>
        </p:spPr>
        <p:txBody>
          <a:bodyPr/>
          <a:lstStyle>
            <a:lvl1pPr algn="ctr">
              <a:defRPr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91DABAE8-7677-4DF7-B0C9-2FC996954C4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330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62FD5-D131-4B03-8BFF-80F82A7A1BE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73152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529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Rest of th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21"/>
          <p:cNvSpPr>
            <a:spLocks noGrp="1"/>
          </p:cNvSpPr>
          <p:nvPr>
            <p:ph type="title"/>
          </p:nvPr>
        </p:nvSpPr>
        <p:spPr>
          <a:xfrm>
            <a:off x="486835" y="254001"/>
            <a:ext cx="11218333" cy="332399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algn="l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400" b="1" kern="120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kumimoji="0"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60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Blue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 rot="16200000">
            <a:off x="2667000" y="-2667000"/>
            <a:ext cx="6858000" cy="12192000"/>
            <a:chOff x="-9129713" y="-762000"/>
            <a:chExt cx="21321713" cy="7620000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3475037" y="-762000"/>
              <a:ext cx="1019175" cy="4297363"/>
            </a:xfrm>
            <a:custGeom>
              <a:avLst/>
              <a:gdLst>
                <a:gd name="T0" fmla="*/ 0 w 2569"/>
                <a:gd name="T1" fmla="*/ 0 h 21654"/>
                <a:gd name="T2" fmla="*/ 0 w 2569"/>
                <a:gd name="T3" fmla="*/ 21654 h 21654"/>
                <a:gd name="T4" fmla="*/ 2 w 2569"/>
                <a:gd name="T5" fmla="*/ 21654 h 21654"/>
                <a:gd name="T6" fmla="*/ 2569 w 2569"/>
                <a:gd name="T7" fmla="*/ 19583 h 21654"/>
                <a:gd name="T8" fmla="*/ 2569 w 2569"/>
                <a:gd name="T9" fmla="*/ 0 h 21654"/>
                <a:gd name="T10" fmla="*/ 0 w 2569"/>
                <a:gd name="T11" fmla="*/ 0 h 2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9" h="21654">
                  <a:moveTo>
                    <a:pt x="0" y="0"/>
                  </a:moveTo>
                  <a:lnTo>
                    <a:pt x="0" y="21654"/>
                  </a:lnTo>
                  <a:lnTo>
                    <a:pt x="2" y="21654"/>
                  </a:lnTo>
                  <a:lnTo>
                    <a:pt x="2569" y="19583"/>
                  </a:lnTo>
                  <a:lnTo>
                    <a:pt x="256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4494212" y="-762000"/>
              <a:ext cx="3359150" cy="3886200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3475037" y="3124200"/>
              <a:ext cx="1019175" cy="3733800"/>
            </a:xfrm>
            <a:custGeom>
              <a:avLst/>
              <a:gdLst>
                <a:gd name="T0" fmla="*/ 2569 w 2569"/>
                <a:gd name="T1" fmla="*/ 0 h 18816"/>
                <a:gd name="T2" fmla="*/ 2 w 2569"/>
                <a:gd name="T3" fmla="*/ 2071 h 18816"/>
                <a:gd name="T4" fmla="*/ 0 w 2569"/>
                <a:gd name="T5" fmla="*/ 2071 h 18816"/>
                <a:gd name="T6" fmla="*/ 0 w 2569"/>
                <a:gd name="T7" fmla="*/ 18816 h 18816"/>
                <a:gd name="T8" fmla="*/ 2 w 2569"/>
                <a:gd name="T9" fmla="*/ 18816 h 18816"/>
                <a:gd name="T10" fmla="*/ 2569 w 2569"/>
                <a:gd name="T11" fmla="*/ 18816 h 18816"/>
                <a:gd name="T12" fmla="*/ 2569 w 2569"/>
                <a:gd name="T13" fmla="*/ 8337 h 18816"/>
                <a:gd name="T14" fmla="*/ 2569 w 2569"/>
                <a:gd name="T15" fmla="*/ 0 h 18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9" h="18816">
                  <a:moveTo>
                    <a:pt x="2569" y="0"/>
                  </a:moveTo>
                  <a:lnTo>
                    <a:pt x="2" y="2071"/>
                  </a:lnTo>
                  <a:lnTo>
                    <a:pt x="0" y="2071"/>
                  </a:lnTo>
                  <a:lnTo>
                    <a:pt x="0" y="18816"/>
                  </a:lnTo>
                  <a:lnTo>
                    <a:pt x="2" y="18816"/>
                  </a:lnTo>
                  <a:lnTo>
                    <a:pt x="2569" y="18816"/>
                  </a:lnTo>
                  <a:lnTo>
                    <a:pt x="2569" y="8337"/>
                  </a:lnTo>
                  <a:lnTo>
                    <a:pt x="2569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4494212" y="3124200"/>
              <a:ext cx="3359150" cy="3733800"/>
            </a:xfrm>
            <a:custGeom>
              <a:avLst/>
              <a:gdLst>
                <a:gd name="T0" fmla="*/ 8461 w 8461"/>
                <a:gd name="T1" fmla="*/ 0 h 18816"/>
                <a:gd name="T2" fmla="*/ 0 w 8461"/>
                <a:gd name="T3" fmla="*/ 0 h 18816"/>
                <a:gd name="T4" fmla="*/ 0 w 8461"/>
                <a:gd name="T5" fmla="*/ 8337 h 18816"/>
                <a:gd name="T6" fmla="*/ 0 w 8461"/>
                <a:gd name="T7" fmla="*/ 18816 h 18816"/>
                <a:gd name="T8" fmla="*/ 8461 w 8461"/>
                <a:gd name="T9" fmla="*/ 18816 h 18816"/>
                <a:gd name="T10" fmla="*/ 8461 w 8461"/>
                <a:gd name="T11" fmla="*/ 8337 h 18816"/>
                <a:gd name="T12" fmla="*/ 8461 w 8461"/>
                <a:gd name="T13" fmla="*/ 0 h 18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61" h="18816">
                  <a:moveTo>
                    <a:pt x="8461" y="0"/>
                  </a:moveTo>
                  <a:lnTo>
                    <a:pt x="0" y="0"/>
                  </a:lnTo>
                  <a:lnTo>
                    <a:pt x="0" y="8337"/>
                  </a:lnTo>
                  <a:lnTo>
                    <a:pt x="0" y="18816"/>
                  </a:lnTo>
                  <a:lnTo>
                    <a:pt x="8461" y="18816"/>
                  </a:lnTo>
                  <a:lnTo>
                    <a:pt x="8461" y="8337"/>
                  </a:lnTo>
                  <a:lnTo>
                    <a:pt x="8461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3362" y="-762000"/>
              <a:ext cx="1008063" cy="3886200"/>
            </a:xfrm>
            <a:custGeom>
              <a:avLst/>
              <a:gdLst>
                <a:gd name="T0" fmla="*/ 0 w 2541"/>
                <a:gd name="T1" fmla="*/ 19583 h 19583"/>
                <a:gd name="T2" fmla="*/ 2 w 2541"/>
                <a:gd name="T3" fmla="*/ 19583 h 19583"/>
                <a:gd name="T4" fmla="*/ 2541 w 2541"/>
                <a:gd name="T5" fmla="*/ 17478 h 19583"/>
                <a:gd name="T6" fmla="*/ 2541 w 2541"/>
                <a:gd name="T7" fmla="*/ 0 h 19583"/>
                <a:gd name="T8" fmla="*/ 0 w 2541"/>
                <a:gd name="T9" fmla="*/ 0 h 19583"/>
                <a:gd name="T10" fmla="*/ 0 w 2541"/>
                <a:gd name="T11" fmla="*/ 19583 h 19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41" h="19583">
                  <a:moveTo>
                    <a:pt x="0" y="19583"/>
                  </a:moveTo>
                  <a:lnTo>
                    <a:pt x="2" y="19583"/>
                  </a:lnTo>
                  <a:lnTo>
                    <a:pt x="2541" y="17478"/>
                  </a:lnTo>
                  <a:lnTo>
                    <a:pt x="2541" y="0"/>
                  </a:lnTo>
                  <a:lnTo>
                    <a:pt x="0" y="0"/>
                  </a:lnTo>
                  <a:lnTo>
                    <a:pt x="0" y="195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7853362" y="2706687"/>
              <a:ext cx="1008063" cy="4151313"/>
            </a:xfrm>
            <a:custGeom>
              <a:avLst/>
              <a:gdLst>
                <a:gd name="T0" fmla="*/ 2541 w 2541"/>
                <a:gd name="T1" fmla="*/ 0 h 20921"/>
                <a:gd name="T2" fmla="*/ 2 w 2541"/>
                <a:gd name="T3" fmla="*/ 2105 h 20921"/>
                <a:gd name="T4" fmla="*/ 0 w 2541"/>
                <a:gd name="T5" fmla="*/ 2105 h 20921"/>
                <a:gd name="T6" fmla="*/ 0 w 2541"/>
                <a:gd name="T7" fmla="*/ 10442 h 20921"/>
                <a:gd name="T8" fmla="*/ 0 w 2541"/>
                <a:gd name="T9" fmla="*/ 20921 h 20921"/>
                <a:gd name="T10" fmla="*/ 2541 w 2541"/>
                <a:gd name="T11" fmla="*/ 20921 h 20921"/>
                <a:gd name="T12" fmla="*/ 2541 w 2541"/>
                <a:gd name="T13" fmla="*/ 4176 h 20921"/>
                <a:gd name="T14" fmla="*/ 2541 w 2541"/>
                <a:gd name="T15" fmla="*/ 0 h 20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41" h="20921">
                  <a:moveTo>
                    <a:pt x="2541" y="0"/>
                  </a:moveTo>
                  <a:lnTo>
                    <a:pt x="2" y="2105"/>
                  </a:lnTo>
                  <a:lnTo>
                    <a:pt x="0" y="2105"/>
                  </a:lnTo>
                  <a:lnTo>
                    <a:pt x="0" y="10442"/>
                  </a:lnTo>
                  <a:lnTo>
                    <a:pt x="0" y="20921"/>
                  </a:lnTo>
                  <a:lnTo>
                    <a:pt x="2541" y="20921"/>
                  </a:lnTo>
                  <a:lnTo>
                    <a:pt x="2541" y="4176"/>
                  </a:lnTo>
                  <a:lnTo>
                    <a:pt x="2541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 11"/>
            <p:cNvSpPr>
              <a:spLocks noChangeArrowheads="1"/>
            </p:cNvSpPr>
            <p:nvPr/>
          </p:nvSpPr>
          <p:spPr bwMode="auto">
            <a:xfrm>
              <a:off x="8861425" y="-762000"/>
              <a:ext cx="3330575" cy="3468688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-2317750" y="-762000"/>
              <a:ext cx="5792788" cy="4297363"/>
            </a:xfrm>
            <a:custGeom>
              <a:avLst/>
              <a:gdLst>
                <a:gd name="T0" fmla="*/ 0 w 14597"/>
                <a:gd name="T1" fmla="*/ 0 h 21654"/>
                <a:gd name="T2" fmla="*/ 0 w 14597"/>
                <a:gd name="T3" fmla="*/ 21620 h 21654"/>
                <a:gd name="T4" fmla="*/ 0 w 14597"/>
                <a:gd name="T5" fmla="*/ 21654 h 21654"/>
                <a:gd name="T6" fmla="*/ 14597 w 14597"/>
                <a:gd name="T7" fmla="*/ 21654 h 21654"/>
                <a:gd name="T8" fmla="*/ 14597 w 14597"/>
                <a:gd name="T9" fmla="*/ 0 h 21654"/>
                <a:gd name="T10" fmla="*/ 0 w 14597"/>
                <a:gd name="T11" fmla="*/ 0 h 2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97" h="21654">
                  <a:moveTo>
                    <a:pt x="0" y="0"/>
                  </a:moveTo>
                  <a:lnTo>
                    <a:pt x="0" y="21620"/>
                  </a:lnTo>
                  <a:lnTo>
                    <a:pt x="0" y="21654"/>
                  </a:lnTo>
                  <a:lnTo>
                    <a:pt x="14597" y="21654"/>
                  </a:lnTo>
                  <a:lnTo>
                    <a:pt x="14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-2317750" y="3535362"/>
              <a:ext cx="5792788" cy="3322638"/>
            </a:xfrm>
            <a:custGeom>
              <a:avLst/>
              <a:gdLst>
                <a:gd name="T0" fmla="*/ 0 w 14597"/>
                <a:gd name="T1" fmla="*/ 0 h 16745"/>
                <a:gd name="T2" fmla="*/ 0 w 14597"/>
                <a:gd name="T3" fmla="*/ 4076 h 16745"/>
                <a:gd name="T4" fmla="*/ 0 w 14597"/>
                <a:gd name="T5" fmla="*/ 6135 h 16745"/>
                <a:gd name="T6" fmla="*/ 0 w 14597"/>
                <a:gd name="T7" fmla="*/ 16745 h 16745"/>
                <a:gd name="T8" fmla="*/ 14597 w 14597"/>
                <a:gd name="T9" fmla="*/ 16745 h 16745"/>
                <a:gd name="T10" fmla="*/ 14597 w 14597"/>
                <a:gd name="T11" fmla="*/ 0 h 16745"/>
                <a:gd name="T12" fmla="*/ 0 w 14597"/>
                <a:gd name="T13" fmla="*/ 0 h 16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97" h="16745">
                  <a:moveTo>
                    <a:pt x="0" y="0"/>
                  </a:moveTo>
                  <a:lnTo>
                    <a:pt x="0" y="4076"/>
                  </a:lnTo>
                  <a:lnTo>
                    <a:pt x="0" y="6135"/>
                  </a:lnTo>
                  <a:lnTo>
                    <a:pt x="0" y="16745"/>
                  </a:lnTo>
                  <a:lnTo>
                    <a:pt x="14597" y="16745"/>
                  </a:lnTo>
                  <a:lnTo>
                    <a:pt x="14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-9129713" y="4752975"/>
              <a:ext cx="5792788" cy="2105025"/>
            </a:xfrm>
            <a:custGeom>
              <a:avLst/>
              <a:gdLst>
                <a:gd name="T0" fmla="*/ 14596 w 14596"/>
                <a:gd name="T1" fmla="*/ 0 h 10610"/>
                <a:gd name="T2" fmla="*/ 0 w 14596"/>
                <a:gd name="T3" fmla="*/ 0 h 10610"/>
                <a:gd name="T4" fmla="*/ 0 w 14596"/>
                <a:gd name="T5" fmla="*/ 10610 h 10610"/>
                <a:gd name="T6" fmla="*/ 14596 w 14596"/>
                <a:gd name="T7" fmla="*/ 10610 h 10610"/>
                <a:gd name="T8" fmla="*/ 14596 w 14596"/>
                <a:gd name="T9" fmla="*/ 13 h 10610"/>
                <a:gd name="T10" fmla="*/ 14596 w 14596"/>
                <a:gd name="T11" fmla="*/ 0 h 10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96" h="10610">
                  <a:moveTo>
                    <a:pt x="14596" y="0"/>
                  </a:moveTo>
                  <a:lnTo>
                    <a:pt x="0" y="0"/>
                  </a:lnTo>
                  <a:lnTo>
                    <a:pt x="0" y="10610"/>
                  </a:lnTo>
                  <a:lnTo>
                    <a:pt x="14596" y="10610"/>
                  </a:lnTo>
                  <a:lnTo>
                    <a:pt x="14596" y="13"/>
                  </a:lnTo>
                  <a:lnTo>
                    <a:pt x="14596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-3336925" y="-762000"/>
              <a:ext cx="1019175" cy="5514975"/>
            </a:xfrm>
            <a:custGeom>
              <a:avLst/>
              <a:gdLst>
                <a:gd name="T0" fmla="*/ 0 w 2568"/>
                <a:gd name="T1" fmla="*/ 0 h 27789"/>
                <a:gd name="T2" fmla="*/ 0 w 2568"/>
                <a:gd name="T3" fmla="*/ 27789 h 27789"/>
                <a:gd name="T4" fmla="*/ 2 w 2568"/>
                <a:gd name="T5" fmla="*/ 27789 h 27789"/>
                <a:gd name="T6" fmla="*/ 2568 w 2568"/>
                <a:gd name="T7" fmla="*/ 21620 h 27789"/>
                <a:gd name="T8" fmla="*/ 2568 w 2568"/>
                <a:gd name="T9" fmla="*/ 0 h 27789"/>
                <a:gd name="T10" fmla="*/ 0 w 2568"/>
                <a:gd name="T11" fmla="*/ 0 h 27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8" h="27789">
                  <a:moveTo>
                    <a:pt x="0" y="0"/>
                  </a:moveTo>
                  <a:lnTo>
                    <a:pt x="0" y="27789"/>
                  </a:lnTo>
                  <a:lnTo>
                    <a:pt x="2" y="27789"/>
                  </a:lnTo>
                  <a:lnTo>
                    <a:pt x="2568" y="21620"/>
                  </a:lnTo>
                  <a:lnTo>
                    <a:pt x="256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-3336925" y="3529012"/>
              <a:ext cx="1019175" cy="3328988"/>
            </a:xfrm>
            <a:custGeom>
              <a:avLst/>
              <a:gdLst>
                <a:gd name="T0" fmla="*/ 2568 w 2568"/>
                <a:gd name="T1" fmla="*/ 4110 h 16779"/>
                <a:gd name="T2" fmla="*/ 2568 w 2568"/>
                <a:gd name="T3" fmla="*/ 34 h 16779"/>
                <a:gd name="T4" fmla="*/ 2568 w 2568"/>
                <a:gd name="T5" fmla="*/ 0 h 16779"/>
                <a:gd name="T6" fmla="*/ 2 w 2568"/>
                <a:gd name="T7" fmla="*/ 6169 h 16779"/>
                <a:gd name="T8" fmla="*/ 19 w 2568"/>
                <a:gd name="T9" fmla="*/ 6169 h 16779"/>
                <a:gd name="T10" fmla="*/ 2 w 2568"/>
                <a:gd name="T11" fmla="*/ 6182 h 16779"/>
                <a:gd name="T12" fmla="*/ 0 w 2568"/>
                <a:gd name="T13" fmla="*/ 6182 h 16779"/>
                <a:gd name="T14" fmla="*/ 0 w 2568"/>
                <a:gd name="T15" fmla="*/ 16779 h 16779"/>
                <a:gd name="T16" fmla="*/ 2 w 2568"/>
                <a:gd name="T17" fmla="*/ 16779 h 16779"/>
                <a:gd name="T18" fmla="*/ 2568 w 2568"/>
                <a:gd name="T19" fmla="*/ 16779 h 16779"/>
                <a:gd name="T20" fmla="*/ 2568 w 2568"/>
                <a:gd name="T21" fmla="*/ 6169 h 16779"/>
                <a:gd name="T22" fmla="*/ 2568 w 2568"/>
                <a:gd name="T23" fmla="*/ 4110 h 16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68" h="16779">
                  <a:moveTo>
                    <a:pt x="2568" y="4110"/>
                  </a:moveTo>
                  <a:lnTo>
                    <a:pt x="2568" y="34"/>
                  </a:lnTo>
                  <a:lnTo>
                    <a:pt x="2568" y="0"/>
                  </a:lnTo>
                  <a:lnTo>
                    <a:pt x="2" y="6169"/>
                  </a:lnTo>
                  <a:lnTo>
                    <a:pt x="19" y="6169"/>
                  </a:lnTo>
                  <a:lnTo>
                    <a:pt x="2" y="6182"/>
                  </a:lnTo>
                  <a:lnTo>
                    <a:pt x="0" y="6182"/>
                  </a:lnTo>
                  <a:lnTo>
                    <a:pt x="0" y="16779"/>
                  </a:lnTo>
                  <a:lnTo>
                    <a:pt x="2" y="16779"/>
                  </a:lnTo>
                  <a:lnTo>
                    <a:pt x="2568" y="16779"/>
                  </a:lnTo>
                  <a:lnTo>
                    <a:pt x="2568" y="6169"/>
                  </a:lnTo>
                  <a:lnTo>
                    <a:pt x="2568" y="411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/>
          </p:nvSpPr>
          <p:spPr bwMode="auto">
            <a:xfrm>
              <a:off x="-9129713" y="-762000"/>
              <a:ext cx="5792788" cy="5514975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8861425" y="2706687"/>
              <a:ext cx="3330575" cy="4151313"/>
            </a:xfrm>
            <a:custGeom>
              <a:avLst/>
              <a:gdLst>
                <a:gd name="T0" fmla="*/ 0 w 8393"/>
                <a:gd name="T1" fmla="*/ 4176 h 20921"/>
                <a:gd name="T2" fmla="*/ 0 w 8393"/>
                <a:gd name="T3" fmla="*/ 20921 h 20921"/>
                <a:gd name="T4" fmla="*/ 8393 w 8393"/>
                <a:gd name="T5" fmla="*/ 20921 h 20921"/>
                <a:gd name="T6" fmla="*/ 8393 w 8393"/>
                <a:gd name="T7" fmla="*/ 4176 h 20921"/>
                <a:gd name="T8" fmla="*/ 8393 w 8393"/>
                <a:gd name="T9" fmla="*/ 0 h 20921"/>
                <a:gd name="T10" fmla="*/ 0 w 8393"/>
                <a:gd name="T11" fmla="*/ 0 h 20921"/>
                <a:gd name="T12" fmla="*/ 0 w 8393"/>
                <a:gd name="T13" fmla="*/ 4176 h 20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93" h="20921">
                  <a:moveTo>
                    <a:pt x="0" y="4176"/>
                  </a:moveTo>
                  <a:lnTo>
                    <a:pt x="0" y="20921"/>
                  </a:lnTo>
                  <a:lnTo>
                    <a:pt x="8393" y="20921"/>
                  </a:lnTo>
                  <a:lnTo>
                    <a:pt x="8393" y="4176"/>
                  </a:lnTo>
                  <a:lnTo>
                    <a:pt x="8393" y="0"/>
                  </a:lnTo>
                  <a:lnTo>
                    <a:pt x="0" y="0"/>
                  </a:lnTo>
                  <a:lnTo>
                    <a:pt x="0" y="4176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40" y="5085184"/>
            <a:ext cx="8544949" cy="1667520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40" y="2920812"/>
            <a:ext cx="652872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98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Blue/Yellow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20" name="Freeform 5"/>
            <p:cNvSpPr>
              <a:spLocks/>
            </p:cNvSpPr>
            <p:nvPr/>
          </p:nvSpPr>
          <p:spPr bwMode="auto">
            <a:xfrm>
              <a:off x="5681073" y="3428293"/>
              <a:ext cx="405122" cy="1371034"/>
            </a:xfrm>
            <a:custGeom>
              <a:avLst/>
              <a:gdLst>
                <a:gd name="T0" fmla="*/ 0 w 2424"/>
                <a:gd name="T1" fmla="*/ 0 h 7748"/>
                <a:gd name="T2" fmla="*/ 0 w 2424"/>
                <a:gd name="T3" fmla="*/ 7748 h 7748"/>
                <a:gd name="T4" fmla="*/ 2 w 2424"/>
                <a:gd name="T5" fmla="*/ 7748 h 7748"/>
                <a:gd name="T6" fmla="*/ 2424 w 2424"/>
                <a:gd name="T7" fmla="*/ 5809 h 7748"/>
                <a:gd name="T8" fmla="*/ 2424 w 2424"/>
                <a:gd name="T9" fmla="*/ 0 h 7748"/>
                <a:gd name="T10" fmla="*/ 0 w 2424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4" h="7748">
                  <a:moveTo>
                    <a:pt x="0" y="0"/>
                  </a:moveTo>
                  <a:lnTo>
                    <a:pt x="0" y="7748"/>
                  </a:lnTo>
                  <a:lnTo>
                    <a:pt x="2" y="7748"/>
                  </a:lnTo>
                  <a:lnTo>
                    <a:pt x="2424" y="5809"/>
                  </a:lnTo>
                  <a:lnTo>
                    <a:pt x="242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Rectangle 6"/>
            <p:cNvSpPr>
              <a:spLocks noChangeArrowheads="1"/>
            </p:cNvSpPr>
            <p:nvPr/>
          </p:nvSpPr>
          <p:spPr bwMode="auto">
            <a:xfrm>
              <a:off x="6086195" y="3428293"/>
              <a:ext cx="1334364" cy="1028630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Freeform 7"/>
            <p:cNvSpPr>
              <a:spLocks/>
            </p:cNvSpPr>
            <p:nvPr userDrawn="1"/>
          </p:nvSpPr>
          <p:spPr bwMode="auto">
            <a:xfrm>
              <a:off x="5681073" y="4456922"/>
              <a:ext cx="405122" cy="2401078"/>
            </a:xfrm>
            <a:custGeom>
              <a:avLst/>
              <a:gdLst>
                <a:gd name="T0" fmla="*/ 2424 w 2424"/>
                <a:gd name="T1" fmla="*/ 0 h 13579"/>
                <a:gd name="T2" fmla="*/ 2 w 2424"/>
                <a:gd name="T3" fmla="*/ 1939 h 13579"/>
                <a:gd name="T4" fmla="*/ 0 w 2424"/>
                <a:gd name="T5" fmla="*/ 1939 h 13579"/>
                <a:gd name="T6" fmla="*/ 0 w 2424"/>
                <a:gd name="T7" fmla="*/ 13579 h 13579"/>
                <a:gd name="T8" fmla="*/ 2 w 2424"/>
                <a:gd name="T9" fmla="*/ 13579 h 13579"/>
                <a:gd name="T10" fmla="*/ 2424 w 2424"/>
                <a:gd name="T11" fmla="*/ 13579 h 13579"/>
                <a:gd name="T12" fmla="*/ 2424 w 2424"/>
                <a:gd name="T13" fmla="*/ 7805 h 13579"/>
                <a:gd name="T14" fmla="*/ 2424 w 2424"/>
                <a:gd name="T15" fmla="*/ 0 h 13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24" h="13579">
                  <a:moveTo>
                    <a:pt x="2424" y="0"/>
                  </a:moveTo>
                  <a:lnTo>
                    <a:pt x="2" y="1939"/>
                  </a:lnTo>
                  <a:lnTo>
                    <a:pt x="0" y="1939"/>
                  </a:lnTo>
                  <a:lnTo>
                    <a:pt x="0" y="13579"/>
                  </a:lnTo>
                  <a:lnTo>
                    <a:pt x="2" y="13579"/>
                  </a:lnTo>
                  <a:lnTo>
                    <a:pt x="2424" y="13579"/>
                  </a:lnTo>
                  <a:lnTo>
                    <a:pt x="2424" y="7805"/>
                  </a:lnTo>
                  <a:lnTo>
                    <a:pt x="2424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6086195" y="4456922"/>
              <a:ext cx="1334364" cy="2401078"/>
            </a:xfrm>
            <a:custGeom>
              <a:avLst/>
              <a:gdLst>
                <a:gd name="T0" fmla="*/ 7982 w 7982"/>
                <a:gd name="T1" fmla="*/ 0 h 13579"/>
                <a:gd name="T2" fmla="*/ 0 w 7982"/>
                <a:gd name="T3" fmla="*/ 0 h 13579"/>
                <a:gd name="T4" fmla="*/ 0 w 7982"/>
                <a:gd name="T5" fmla="*/ 7805 h 13579"/>
                <a:gd name="T6" fmla="*/ 0 w 7982"/>
                <a:gd name="T7" fmla="*/ 13579 h 13579"/>
                <a:gd name="T8" fmla="*/ 7982 w 7982"/>
                <a:gd name="T9" fmla="*/ 13579 h 13579"/>
                <a:gd name="T10" fmla="*/ 7982 w 7982"/>
                <a:gd name="T11" fmla="*/ 7805 h 13579"/>
                <a:gd name="T12" fmla="*/ 7982 w 7982"/>
                <a:gd name="T13" fmla="*/ 0 h 13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82" h="13579">
                  <a:moveTo>
                    <a:pt x="7982" y="0"/>
                  </a:moveTo>
                  <a:lnTo>
                    <a:pt x="0" y="0"/>
                  </a:lnTo>
                  <a:lnTo>
                    <a:pt x="0" y="7805"/>
                  </a:lnTo>
                  <a:lnTo>
                    <a:pt x="0" y="13579"/>
                  </a:lnTo>
                  <a:lnTo>
                    <a:pt x="7982" y="13579"/>
                  </a:lnTo>
                  <a:lnTo>
                    <a:pt x="7982" y="7805"/>
                  </a:lnTo>
                  <a:lnTo>
                    <a:pt x="7982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7420559" y="3428293"/>
              <a:ext cx="400443" cy="1028630"/>
            </a:xfrm>
            <a:custGeom>
              <a:avLst/>
              <a:gdLst>
                <a:gd name="T0" fmla="*/ 0 w 2397"/>
                <a:gd name="T1" fmla="*/ 5809 h 5809"/>
                <a:gd name="T2" fmla="*/ 1 w 2397"/>
                <a:gd name="T3" fmla="*/ 5809 h 5809"/>
                <a:gd name="T4" fmla="*/ 2397 w 2397"/>
                <a:gd name="T5" fmla="*/ 3839 h 5809"/>
                <a:gd name="T6" fmla="*/ 2397 w 2397"/>
                <a:gd name="T7" fmla="*/ 0 h 5809"/>
                <a:gd name="T8" fmla="*/ 0 w 2397"/>
                <a:gd name="T9" fmla="*/ 0 h 5809"/>
                <a:gd name="T10" fmla="*/ 0 w 2397"/>
                <a:gd name="T11" fmla="*/ 5809 h 5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7" h="5809">
                  <a:moveTo>
                    <a:pt x="0" y="5809"/>
                  </a:moveTo>
                  <a:lnTo>
                    <a:pt x="1" y="5809"/>
                  </a:lnTo>
                  <a:lnTo>
                    <a:pt x="2397" y="3839"/>
                  </a:lnTo>
                  <a:lnTo>
                    <a:pt x="2397" y="0"/>
                  </a:lnTo>
                  <a:lnTo>
                    <a:pt x="0" y="0"/>
                  </a:lnTo>
                  <a:lnTo>
                    <a:pt x="0" y="5809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0" name="Freeform 10"/>
            <p:cNvSpPr>
              <a:spLocks/>
            </p:cNvSpPr>
            <p:nvPr userDrawn="1"/>
          </p:nvSpPr>
          <p:spPr bwMode="auto">
            <a:xfrm>
              <a:off x="7420559" y="4107443"/>
              <a:ext cx="400443" cy="2750557"/>
            </a:xfrm>
            <a:custGeom>
              <a:avLst/>
              <a:gdLst>
                <a:gd name="T0" fmla="*/ 2397 w 2397"/>
                <a:gd name="T1" fmla="*/ 0 h 15549"/>
                <a:gd name="T2" fmla="*/ 1 w 2397"/>
                <a:gd name="T3" fmla="*/ 1970 h 15549"/>
                <a:gd name="T4" fmla="*/ 0 w 2397"/>
                <a:gd name="T5" fmla="*/ 1970 h 15549"/>
                <a:gd name="T6" fmla="*/ 0 w 2397"/>
                <a:gd name="T7" fmla="*/ 9775 h 15549"/>
                <a:gd name="T8" fmla="*/ 0 w 2397"/>
                <a:gd name="T9" fmla="*/ 15549 h 15549"/>
                <a:gd name="T10" fmla="*/ 2397 w 2397"/>
                <a:gd name="T11" fmla="*/ 15549 h 15549"/>
                <a:gd name="T12" fmla="*/ 2397 w 2397"/>
                <a:gd name="T13" fmla="*/ 3909 h 15549"/>
                <a:gd name="T14" fmla="*/ 2397 w 2397"/>
                <a:gd name="T15" fmla="*/ 0 h 15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97" h="15549">
                  <a:moveTo>
                    <a:pt x="2397" y="0"/>
                  </a:moveTo>
                  <a:lnTo>
                    <a:pt x="1" y="1970"/>
                  </a:lnTo>
                  <a:lnTo>
                    <a:pt x="0" y="1970"/>
                  </a:lnTo>
                  <a:lnTo>
                    <a:pt x="0" y="9775"/>
                  </a:lnTo>
                  <a:lnTo>
                    <a:pt x="0" y="15549"/>
                  </a:lnTo>
                  <a:lnTo>
                    <a:pt x="2397" y="15549"/>
                  </a:lnTo>
                  <a:lnTo>
                    <a:pt x="2397" y="3909"/>
                  </a:lnTo>
                  <a:lnTo>
                    <a:pt x="2397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Rectangle 11"/>
            <p:cNvSpPr>
              <a:spLocks noChangeArrowheads="1"/>
            </p:cNvSpPr>
            <p:nvPr/>
          </p:nvSpPr>
          <p:spPr bwMode="auto">
            <a:xfrm>
              <a:off x="7821001" y="3428293"/>
              <a:ext cx="1322999" cy="679150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2" name="Freeform 12"/>
            <p:cNvSpPr>
              <a:spLocks/>
            </p:cNvSpPr>
            <p:nvPr/>
          </p:nvSpPr>
          <p:spPr bwMode="auto">
            <a:xfrm>
              <a:off x="3379362" y="3428293"/>
              <a:ext cx="2301710" cy="1371034"/>
            </a:xfrm>
            <a:custGeom>
              <a:avLst/>
              <a:gdLst>
                <a:gd name="T0" fmla="*/ 0 w 13770"/>
                <a:gd name="T1" fmla="*/ 0 h 7748"/>
                <a:gd name="T2" fmla="*/ 0 w 13770"/>
                <a:gd name="T3" fmla="*/ 7715 h 7748"/>
                <a:gd name="T4" fmla="*/ 0 w 13770"/>
                <a:gd name="T5" fmla="*/ 7748 h 7748"/>
                <a:gd name="T6" fmla="*/ 13770 w 13770"/>
                <a:gd name="T7" fmla="*/ 7748 h 7748"/>
                <a:gd name="T8" fmla="*/ 13770 w 13770"/>
                <a:gd name="T9" fmla="*/ 0 h 7748"/>
                <a:gd name="T10" fmla="*/ 0 w 13770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48">
                  <a:moveTo>
                    <a:pt x="0" y="0"/>
                  </a:moveTo>
                  <a:lnTo>
                    <a:pt x="0" y="7715"/>
                  </a:lnTo>
                  <a:lnTo>
                    <a:pt x="0" y="7748"/>
                  </a:lnTo>
                  <a:lnTo>
                    <a:pt x="13770" y="7748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Freeform 13"/>
            <p:cNvSpPr>
              <a:spLocks/>
            </p:cNvSpPr>
            <p:nvPr/>
          </p:nvSpPr>
          <p:spPr bwMode="auto">
            <a:xfrm>
              <a:off x="3379362" y="4799326"/>
              <a:ext cx="2301710" cy="2058674"/>
            </a:xfrm>
            <a:custGeom>
              <a:avLst/>
              <a:gdLst>
                <a:gd name="T0" fmla="*/ 0 w 13770"/>
                <a:gd name="T1" fmla="*/ 0 h 11640"/>
                <a:gd name="T2" fmla="*/ 0 w 13770"/>
                <a:gd name="T3" fmla="*/ 3816 h 11640"/>
                <a:gd name="T4" fmla="*/ 0 w 13770"/>
                <a:gd name="T5" fmla="*/ 5743 h 11640"/>
                <a:gd name="T6" fmla="*/ 0 w 13770"/>
                <a:gd name="T7" fmla="*/ 11640 h 11640"/>
                <a:gd name="T8" fmla="*/ 13770 w 13770"/>
                <a:gd name="T9" fmla="*/ 11640 h 11640"/>
                <a:gd name="T10" fmla="*/ 13770 w 13770"/>
                <a:gd name="T11" fmla="*/ 0 h 11640"/>
                <a:gd name="T12" fmla="*/ 0 w 13770"/>
                <a:gd name="T13" fmla="*/ 0 h 11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70" h="11640">
                  <a:moveTo>
                    <a:pt x="0" y="0"/>
                  </a:moveTo>
                  <a:lnTo>
                    <a:pt x="0" y="3816"/>
                  </a:lnTo>
                  <a:lnTo>
                    <a:pt x="0" y="5743"/>
                  </a:lnTo>
                  <a:lnTo>
                    <a:pt x="0" y="11640"/>
                  </a:lnTo>
                  <a:lnTo>
                    <a:pt x="13770" y="11640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Freeform 14"/>
            <p:cNvSpPr>
              <a:spLocks/>
            </p:cNvSpPr>
            <p:nvPr/>
          </p:nvSpPr>
          <p:spPr bwMode="auto">
            <a:xfrm>
              <a:off x="0" y="5815221"/>
              <a:ext cx="2974909" cy="1042779"/>
            </a:xfrm>
            <a:custGeom>
              <a:avLst/>
              <a:gdLst>
                <a:gd name="T0" fmla="*/ 17799 w 17799"/>
                <a:gd name="T1" fmla="*/ 0 h 5897"/>
                <a:gd name="T2" fmla="*/ 0 w 17799"/>
                <a:gd name="T3" fmla="*/ 0 h 5897"/>
                <a:gd name="T4" fmla="*/ 0 w 17799"/>
                <a:gd name="T5" fmla="*/ 5897 h 5897"/>
                <a:gd name="T6" fmla="*/ 17799 w 17799"/>
                <a:gd name="T7" fmla="*/ 5897 h 5897"/>
                <a:gd name="T8" fmla="*/ 17799 w 17799"/>
                <a:gd name="T9" fmla="*/ 12 h 5897"/>
                <a:gd name="T10" fmla="*/ 17799 w 17799"/>
                <a:gd name="T11" fmla="*/ 0 h 5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99" h="5897">
                  <a:moveTo>
                    <a:pt x="17799" y="0"/>
                  </a:moveTo>
                  <a:lnTo>
                    <a:pt x="0" y="0"/>
                  </a:lnTo>
                  <a:lnTo>
                    <a:pt x="0" y="5897"/>
                  </a:lnTo>
                  <a:lnTo>
                    <a:pt x="17799" y="5897"/>
                  </a:lnTo>
                  <a:lnTo>
                    <a:pt x="17799" y="12"/>
                  </a:lnTo>
                  <a:lnTo>
                    <a:pt x="17799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auto">
            <a:xfrm>
              <a:off x="2974909" y="3428293"/>
              <a:ext cx="404454" cy="2386930"/>
            </a:xfrm>
            <a:custGeom>
              <a:avLst/>
              <a:gdLst>
                <a:gd name="T0" fmla="*/ 0 w 2423"/>
                <a:gd name="T1" fmla="*/ 0 h 13491"/>
                <a:gd name="T2" fmla="*/ 0 w 2423"/>
                <a:gd name="T3" fmla="*/ 13491 h 13491"/>
                <a:gd name="T4" fmla="*/ 1 w 2423"/>
                <a:gd name="T5" fmla="*/ 13491 h 13491"/>
                <a:gd name="T6" fmla="*/ 2423 w 2423"/>
                <a:gd name="T7" fmla="*/ 7715 h 13491"/>
                <a:gd name="T8" fmla="*/ 2423 w 2423"/>
                <a:gd name="T9" fmla="*/ 0 h 13491"/>
                <a:gd name="T10" fmla="*/ 0 w 2423"/>
                <a:gd name="T11" fmla="*/ 0 h 13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3" h="13491">
                  <a:moveTo>
                    <a:pt x="0" y="0"/>
                  </a:moveTo>
                  <a:lnTo>
                    <a:pt x="0" y="13491"/>
                  </a:lnTo>
                  <a:lnTo>
                    <a:pt x="1" y="13491"/>
                  </a:lnTo>
                  <a:lnTo>
                    <a:pt x="2423" y="7715"/>
                  </a:lnTo>
                  <a:lnTo>
                    <a:pt x="24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6" name="Freeform 16"/>
            <p:cNvSpPr>
              <a:spLocks/>
            </p:cNvSpPr>
            <p:nvPr userDrawn="1"/>
          </p:nvSpPr>
          <p:spPr bwMode="auto">
            <a:xfrm>
              <a:off x="2974909" y="4793667"/>
              <a:ext cx="404454" cy="2064333"/>
            </a:xfrm>
            <a:custGeom>
              <a:avLst/>
              <a:gdLst>
                <a:gd name="T0" fmla="*/ 2423 w 2423"/>
                <a:gd name="T1" fmla="*/ 3849 h 11673"/>
                <a:gd name="T2" fmla="*/ 2423 w 2423"/>
                <a:gd name="T3" fmla="*/ 33 h 11673"/>
                <a:gd name="T4" fmla="*/ 2423 w 2423"/>
                <a:gd name="T5" fmla="*/ 0 h 11673"/>
                <a:gd name="T6" fmla="*/ 1 w 2423"/>
                <a:gd name="T7" fmla="*/ 5776 h 11673"/>
                <a:gd name="T8" fmla="*/ 17 w 2423"/>
                <a:gd name="T9" fmla="*/ 5776 h 11673"/>
                <a:gd name="T10" fmla="*/ 1 w 2423"/>
                <a:gd name="T11" fmla="*/ 5788 h 11673"/>
                <a:gd name="T12" fmla="*/ 0 w 2423"/>
                <a:gd name="T13" fmla="*/ 5788 h 11673"/>
                <a:gd name="T14" fmla="*/ 0 w 2423"/>
                <a:gd name="T15" fmla="*/ 11673 h 11673"/>
                <a:gd name="T16" fmla="*/ 1 w 2423"/>
                <a:gd name="T17" fmla="*/ 11673 h 11673"/>
                <a:gd name="T18" fmla="*/ 2423 w 2423"/>
                <a:gd name="T19" fmla="*/ 11673 h 11673"/>
                <a:gd name="T20" fmla="*/ 2423 w 2423"/>
                <a:gd name="T21" fmla="*/ 5776 h 11673"/>
                <a:gd name="T22" fmla="*/ 2423 w 2423"/>
                <a:gd name="T23" fmla="*/ 3849 h 11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3" h="11673">
                  <a:moveTo>
                    <a:pt x="2423" y="3849"/>
                  </a:moveTo>
                  <a:lnTo>
                    <a:pt x="2423" y="33"/>
                  </a:lnTo>
                  <a:lnTo>
                    <a:pt x="2423" y="0"/>
                  </a:lnTo>
                  <a:lnTo>
                    <a:pt x="1" y="5776"/>
                  </a:lnTo>
                  <a:lnTo>
                    <a:pt x="17" y="5776"/>
                  </a:lnTo>
                  <a:lnTo>
                    <a:pt x="1" y="5788"/>
                  </a:lnTo>
                  <a:lnTo>
                    <a:pt x="0" y="5788"/>
                  </a:lnTo>
                  <a:lnTo>
                    <a:pt x="0" y="11673"/>
                  </a:lnTo>
                  <a:lnTo>
                    <a:pt x="1" y="11673"/>
                  </a:lnTo>
                  <a:lnTo>
                    <a:pt x="2423" y="11673"/>
                  </a:lnTo>
                  <a:lnTo>
                    <a:pt x="2423" y="5776"/>
                  </a:lnTo>
                  <a:lnTo>
                    <a:pt x="2423" y="3849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7" name="Rectangle 17"/>
            <p:cNvSpPr>
              <a:spLocks noChangeArrowheads="1"/>
            </p:cNvSpPr>
            <p:nvPr/>
          </p:nvSpPr>
          <p:spPr bwMode="auto">
            <a:xfrm>
              <a:off x="0" y="3428293"/>
              <a:ext cx="2974909" cy="2386930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8" name="Freeform 18"/>
            <p:cNvSpPr>
              <a:spLocks/>
            </p:cNvSpPr>
            <p:nvPr/>
          </p:nvSpPr>
          <p:spPr bwMode="auto">
            <a:xfrm>
              <a:off x="7821001" y="4107443"/>
              <a:ext cx="1322999" cy="2750557"/>
            </a:xfrm>
            <a:custGeom>
              <a:avLst/>
              <a:gdLst>
                <a:gd name="T0" fmla="*/ 0 w 7917"/>
                <a:gd name="T1" fmla="*/ 3909 h 15549"/>
                <a:gd name="T2" fmla="*/ 0 w 7917"/>
                <a:gd name="T3" fmla="*/ 15549 h 15549"/>
                <a:gd name="T4" fmla="*/ 7917 w 7917"/>
                <a:gd name="T5" fmla="*/ 15549 h 15549"/>
                <a:gd name="T6" fmla="*/ 7917 w 7917"/>
                <a:gd name="T7" fmla="*/ 3909 h 15549"/>
                <a:gd name="T8" fmla="*/ 7917 w 7917"/>
                <a:gd name="T9" fmla="*/ 0 h 15549"/>
                <a:gd name="T10" fmla="*/ 0 w 7917"/>
                <a:gd name="T11" fmla="*/ 0 h 15549"/>
                <a:gd name="T12" fmla="*/ 0 w 7917"/>
                <a:gd name="T13" fmla="*/ 3909 h 15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17" h="15549">
                  <a:moveTo>
                    <a:pt x="0" y="3909"/>
                  </a:moveTo>
                  <a:lnTo>
                    <a:pt x="0" y="15549"/>
                  </a:lnTo>
                  <a:lnTo>
                    <a:pt x="7917" y="15549"/>
                  </a:lnTo>
                  <a:lnTo>
                    <a:pt x="7917" y="3909"/>
                  </a:lnTo>
                  <a:lnTo>
                    <a:pt x="7917" y="0"/>
                  </a:lnTo>
                  <a:lnTo>
                    <a:pt x="0" y="0"/>
                  </a:lnTo>
                  <a:lnTo>
                    <a:pt x="0" y="3909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9" name="Freeform 19"/>
            <p:cNvSpPr>
              <a:spLocks/>
            </p:cNvSpPr>
            <p:nvPr/>
          </p:nvSpPr>
          <p:spPr bwMode="auto">
            <a:xfrm>
              <a:off x="5681073" y="2058674"/>
              <a:ext cx="405122" cy="1369619"/>
            </a:xfrm>
            <a:custGeom>
              <a:avLst/>
              <a:gdLst>
                <a:gd name="T0" fmla="*/ 0 w 2424"/>
                <a:gd name="T1" fmla="*/ 7750 h 7750"/>
                <a:gd name="T2" fmla="*/ 0 w 2424"/>
                <a:gd name="T3" fmla="*/ 0 h 7750"/>
                <a:gd name="T4" fmla="*/ 2 w 2424"/>
                <a:gd name="T5" fmla="*/ 0 h 7750"/>
                <a:gd name="T6" fmla="*/ 2424 w 2424"/>
                <a:gd name="T7" fmla="*/ 1940 h 7750"/>
                <a:gd name="T8" fmla="*/ 2424 w 2424"/>
                <a:gd name="T9" fmla="*/ 7750 h 7750"/>
                <a:gd name="T10" fmla="*/ 0 w 2424"/>
                <a:gd name="T11" fmla="*/ 7750 h 7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4" h="7750">
                  <a:moveTo>
                    <a:pt x="0" y="775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424" y="1940"/>
                  </a:lnTo>
                  <a:lnTo>
                    <a:pt x="2424" y="7750"/>
                  </a:lnTo>
                  <a:lnTo>
                    <a:pt x="0" y="77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0" name="Rectangle 20"/>
            <p:cNvSpPr>
              <a:spLocks noChangeArrowheads="1"/>
            </p:cNvSpPr>
            <p:nvPr/>
          </p:nvSpPr>
          <p:spPr bwMode="auto">
            <a:xfrm>
              <a:off x="6086195" y="2401078"/>
              <a:ext cx="1334364" cy="1027214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21"/>
            <p:cNvSpPr>
              <a:spLocks/>
            </p:cNvSpPr>
            <p:nvPr userDrawn="1"/>
          </p:nvSpPr>
          <p:spPr bwMode="auto">
            <a:xfrm>
              <a:off x="5681073" y="0"/>
              <a:ext cx="405122" cy="2401078"/>
            </a:xfrm>
            <a:custGeom>
              <a:avLst/>
              <a:gdLst>
                <a:gd name="T0" fmla="*/ 2424 w 2424"/>
                <a:gd name="T1" fmla="*/ 13578 h 13578"/>
                <a:gd name="T2" fmla="*/ 2 w 2424"/>
                <a:gd name="T3" fmla="*/ 11638 h 13578"/>
                <a:gd name="T4" fmla="*/ 0 w 2424"/>
                <a:gd name="T5" fmla="*/ 11638 h 13578"/>
                <a:gd name="T6" fmla="*/ 0 w 2424"/>
                <a:gd name="T7" fmla="*/ 0 h 13578"/>
                <a:gd name="T8" fmla="*/ 2 w 2424"/>
                <a:gd name="T9" fmla="*/ 0 h 13578"/>
                <a:gd name="T10" fmla="*/ 2424 w 2424"/>
                <a:gd name="T11" fmla="*/ 0 h 13578"/>
                <a:gd name="T12" fmla="*/ 2424 w 2424"/>
                <a:gd name="T13" fmla="*/ 5774 h 13578"/>
                <a:gd name="T14" fmla="*/ 2424 w 2424"/>
                <a:gd name="T15" fmla="*/ 13578 h 13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24" h="13578">
                  <a:moveTo>
                    <a:pt x="2424" y="13578"/>
                  </a:moveTo>
                  <a:lnTo>
                    <a:pt x="2" y="11638"/>
                  </a:lnTo>
                  <a:lnTo>
                    <a:pt x="0" y="11638"/>
                  </a:lnTo>
                  <a:lnTo>
                    <a:pt x="0" y="0"/>
                  </a:lnTo>
                  <a:lnTo>
                    <a:pt x="2" y="0"/>
                  </a:lnTo>
                  <a:lnTo>
                    <a:pt x="2424" y="0"/>
                  </a:lnTo>
                  <a:lnTo>
                    <a:pt x="2424" y="5774"/>
                  </a:lnTo>
                  <a:lnTo>
                    <a:pt x="2424" y="13578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2" name="Freeform 22"/>
            <p:cNvSpPr>
              <a:spLocks/>
            </p:cNvSpPr>
            <p:nvPr/>
          </p:nvSpPr>
          <p:spPr bwMode="auto">
            <a:xfrm>
              <a:off x="6086195" y="0"/>
              <a:ext cx="1334364" cy="2401078"/>
            </a:xfrm>
            <a:custGeom>
              <a:avLst/>
              <a:gdLst>
                <a:gd name="T0" fmla="*/ 7982 w 7982"/>
                <a:gd name="T1" fmla="*/ 13578 h 13578"/>
                <a:gd name="T2" fmla="*/ 0 w 7982"/>
                <a:gd name="T3" fmla="*/ 13578 h 13578"/>
                <a:gd name="T4" fmla="*/ 0 w 7982"/>
                <a:gd name="T5" fmla="*/ 5774 h 13578"/>
                <a:gd name="T6" fmla="*/ 0 w 7982"/>
                <a:gd name="T7" fmla="*/ 0 h 13578"/>
                <a:gd name="T8" fmla="*/ 7982 w 7982"/>
                <a:gd name="T9" fmla="*/ 0 h 13578"/>
                <a:gd name="T10" fmla="*/ 7982 w 7982"/>
                <a:gd name="T11" fmla="*/ 5774 h 13578"/>
                <a:gd name="T12" fmla="*/ 7982 w 7982"/>
                <a:gd name="T13" fmla="*/ 13578 h 13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82" h="13578">
                  <a:moveTo>
                    <a:pt x="7982" y="13578"/>
                  </a:moveTo>
                  <a:lnTo>
                    <a:pt x="0" y="13578"/>
                  </a:lnTo>
                  <a:lnTo>
                    <a:pt x="0" y="5774"/>
                  </a:lnTo>
                  <a:lnTo>
                    <a:pt x="0" y="0"/>
                  </a:lnTo>
                  <a:lnTo>
                    <a:pt x="7982" y="0"/>
                  </a:lnTo>
                  <a:lnTo>
                    <a:pt x="7982" y="5774"/>
                  </a:lnTo>
                  <a:lnTo>
                    <a:pt x="7982" y="13578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3" name="Freeform 23"/>
            <p:cNvSpPr>
              <a:spLocks/>
            </p:cNvSpPr>
            <p:nvPr/>
          </p:nvSpPr>
          <p:spPr bwMode="auto">
            <a:xfrm>
              <a:off x="7420559" y="2401078"/>
              <a:ext cx="400443" cy="1027214"/>
            </a:xfrm>
            <a:custGeom>
              <a:avLst/>
              <a:gdLst>
                <a:gd name="T0" fmla="*/ 0 w 2397"/>
                <a:gd name="T1" fmla="*/ 0 h 5810"/>
                <a:gd name="T2" fmla="*/ 1 w 2397"/>
                <a:gd name="T3" fmla="*/ 0 h 5810"/>
                <a:gd name="T4" fmla="*/ 2397 w 2397"/>
                <a:gd name="T5" fmla="*/ 1970 h 5810"/>
                <a:gd name="T6" fmla="*/ 2397 w 2397"/>
                <a:gd name="T7" fmla="*/ 5810 h 5810"/>
                <a:gd name="T8" fmla="*/ 0 w 2397"/>
                <a:gd name="T9" fmla="*/ 5810 h 5810"/>
                <a:gd name="T10" fmla="*/ 0 w 2397"/>
                <a:gd name="T11" fmla="*/ 0 h 5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7" h="5810">
                  <a:moveTo>
                    <a:pt x="0" y="0"/>
                  </a:moveTo>
                  <a:lnTo>
                    <a:pt x="1" y="0"/>
                  </a:lnTo>
                  <a:lnTo>
                    <a:pt x="2397" y="1970"/>
                  </a:lnTo>
                  <a:lnTo>
                    <a:pt x="2397" y="5810"/>
                  </a:lnTo>
                  <a:lnTo>
                    <a:pt x="0" y="5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4" name="Freeform 24"/>
            <p:cNvSpPr>
              <a:spLocks/>
            </p:cNvSpPr>
            <p:nvPr userDrawn="1"/>
          </p:nvSpPr>
          <p:spPr bwMode="auto">
            <a:xfrm>
              <a:off x="7420559" y="0"/>
              <a:ext cx="400443" cy="2750557"/>
            </a:xfrm>
            <a:custGeom>
              <a:avLst/>
              <a:gdLst>
                <a:gd name="T0" fmla="*/ 2397 w 2397"/>
                <a:gd name="T1" fmla="*/ 15548 h 15548"/>
                <a:gd name="T2" fmla="*/ 1 w 2397"/>
                <a:gd name="T3" fmla="*/ 13578 h 15548"/>
                <a:gd name="T4" fmla="*/ 0 w 2397"/>
                <a:gd name="T5" fmla="*/ 13578 h 15548"/>
                <a:gd name="T6" fmla="*/ 0 w 2397"/>
                <a:gd name="T7" fmla="*/ 5774 h 15548"/>
                <a:gd name="T8" fmla="*/ 0 w 2397"/>
                <a:gd name="T9" fmla="*/ 0 h 15548"/>
                <a:gd name="T10" fmla="*/ 2397 w 2397"/>
                <a:gd name="T11" fmla="*/ 0 h 15548"/>
                <a:gd name="T12" fmla="*/ 2397 w 2397"/>
                <a:gd name="T13" fmla="*/ 11638 h 15548"/>
                <a:gd name="T14" fmla="*/ 2397 w 2397"/>
                <a:gd name="T15" fmla="*/ 15548 h 15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97" h="15548">
                  <a:moveTo>
                    <a:pt x="2397" y="15548"/>
                  </a:moveTo>
                  <a:lnTo>
                    <a:pt x="1" y="13578"/>
                  </a:lnTo>
                  <a:lnTo>
                    <a:pt x="0" y="13578"/>
                  </a:lnTo>
                  <a:lnTo>
                    <a:pt x="0" y="5774"/>
                  </a:lnTo>
                  <a:lnTo>
                    <a:pt x="0" y="0"/>
                  </a:lnTo>
                  <a:lnTo>
                    <a:pt x="2397" y="0"/>
                  </a:lnTo>
                  <a:lnTo>
                    <a:pt x="2397" y="11638"/>
                  </a:lnTo>
                  <a:lnTo>
                    <a:pt x="2397" y="15548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5" name="Rectangle 25"/>
            <p:cNvSpPr>
              <a:spLocks noChangeArrowheads="1"/>
            </p:cNvSpPr>
            <p:nvPr/>
          </p:nvSpPr>
          <p:spPr bwMode="auto">
            <a:xfrm>
              <a:off x="7821001" y="2750557"/>
              <a:ext cx="1322999" cy="677735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6" name="Freeform 26"/>
            <p:cNvSpPr>
              <a:spLocks/>
            </p:cNvSpPr>
            <p:nvPr/>
          </p:nvSpPr>
          <p:spPr bwMode="auto">
            <a:xfrm>
              <a:off x="3379362" y="2058674"/>
              <a:ext cx="2301710" cy="1369619"/>
            </a:xfrm>
            <a:custGeom>
              <a:avLst/>
              <a:gdLst>
                <a:gd name="T0" fmla="*/ 0 w 13770"/>
                <a:gd name="T1" fmla="*/ 7750 h 7750"/>
                <a:gd name="T2" fmla="*/ 0 w 13770"/>
                <a:gd name="T3" fmla="*/ 33 h 7750"/>
                <a:gd name="T4" fmla="*/ 0 w 13770"/>
                <a:gd name="T5" fmla="*/ 0 h 7750"/>
                <a:gd name="T6" fmla="*/ 13770 w 13770"/>
                <a:gd name="T7" fmla="*/ 0 h 7750"/>
                <a:gd name="T8" fmla="*/ 13770 w 13770"/>
                <a:gd name="T9" fmla="*/ 7750 h 7750"/>
                <a:gd name="T10" fmla="*/ 0 w 13770"/>
                <a:gd name="T11" fmla="*/ 7750 h 7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50">
                  <a:moveTo>
                    <a:pt x="0" y="775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13770" y="0"/>
                  </a:lnTo>
                  <a:lnTo>
                    <a:pt x="13770" y="7750"/>
                  </a:lnTo>
                  <a:lnTo>
                    <a:pt x="0" y="7750"/>
                  </a:lnTo>
                  <a:close/>
                </a:path>
              </a:pathLst>
            </a:cu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7" name="Freeform 27"/>
            <p:cNvSpPr>
              <a:spLocks/>
            </p:cNvSpPr>
            <p:nvPr/>
          </p:nvSpPr>
          <p:spPr bwMode="auto">
            <a:xfrm>
              <a:off x="3379362" y="0"/>
              <a:ext cx="2301710" cy="2058674"/>
            </a:xfrm>
            <a:custGeom>
              <a:avLst/>
              <a:gdLst>
                <a:gd name="T0" fmla="*/ 0 w 13770"/>
                <a:gd name="T1" fmla="*/ 11638 h 11638"/>
                <a:gd name="T2" fmla="*/ 0 w 13770"/>
                <a:gd name="T3" fmla="*/ 7824 h 11638"/>
                <a:gd name="T4" fmla="*/ 0 w 13770"/>
                <a:gd name="T5" fmla="*/ 5897 h 11638"/>
                <a:gd name="T6" fmla="*/ 0 w 13770"/>
                <a:gd name="T7" fmla="*/ 0 h 11638"/>
                <a:gd name="T8" fmla="*/ 13770 w 13770"/>
                <a:gd name="T9" fmla="*/ 0 h 11638"/>
                <a:gd name="T10" fmla="*/ 13770 w 13770"/>
                <a:gd name="T11" fmla="*/ 11638 h 11638"/>
                <a:gd name="T12" fmla="*/ 0 w 13770"/>
                <a:gd name="T13" fmla="*/ 11638 h 11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70" h="11638">
                  <a:moveTo>
                    <a:pt x="0" y="11638"/>
                  </a:moveTo>
                  <a:lnTo>
                    <a:pt x="0" y="7824"/>
                  </a:lnTo>
                  <a:lnTo>
                    <a:pt x="0" y="5897"/>
                  </a:lnTo>
                  <a:lnTo>
                    <a:pt x="0" y="0"/>
                  </a:lnTo>
                  <a:lnTo>
                    <a:pt x="13770" y="0"/>
                  </a:lnTo>
                  <a:lnTo>
                    <a:pt x="13770" y="11638"/>
                  </a:lnTo>
                  <a:lnTo>
                    <a:pt x="0" y="11638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8" name="Freeform 28"/>
            <p:cNvSpPr>
              <a:spLocks/>
            </p:cNvSpPr>
            <p:nvPr userDrawn="1"/>
          </p:nvSpPr>
          <p:spPr bwMode="auto">
            <a:xfrm>
              <a:off x="0" y="0"/>
              <a:ext cx="2974909" cy="1042779"/>
            </a:xfrm>
            <a:custGeom>
              <a:avLst/>
              <a:gdLst>
                <a:gd name="T0" fmla="*/ 17799 w 17799"/>
                <a:gd name="T1" fmla="*/ 5897 h 5897"/>
                <a:gd name="T2" fmla="*/ 0 w 17799"/>
                <a:gd name="T3" fmla="*/ 5897 h 5897"/>
                <a:gd name="T4" fmla="*/ 0 w 17799"/>
                <a:gd name="T5" fmla="*/ 0 h 5897"/>
                <a:gd name="T6" fmla="*/ 17799 w 17799"/>
                <a:gd name="T7" fmla="*/ 0 h 5897"/>
                <a:gd name="T8" fmla="*/ 17799 w 17799"/>
                <a:gd name="T9" fmla="*/ 5884 h 5897"/>
                <a:gd name="T10" fmla="*/ 17799 w 17799"/>
                <a:gd name="T11" fmla="*/ 5897 h 5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99" h="5897">
                  <a:moveTo>
                    <a:pt x="17799" y="5897"/>
                  </a:moveTo>
                  <a:lnTo>
                    <a:pt x="0" y="5897"/>
                  </a:lnTo>
                  <a:lnTo>
                    <a:pt x="0" y="0"/>
                  </a:lnTo>
                  <a:lnTo>
                    <a:pt x="17799" y="0"/>
                  </a:lnTo>
                  <a:lnTo>
                    <a:pt x="17799" y="5884"/>
                  </a:lnTo>
                  <a:lnTo>
                    <a:pt x="17799" y="5897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9" name="Freeform 29"/>
            <p:cNvSpPr>
              <a:spLocks/>
            </p:cNvSpPr>
            <p:nvPr/>
          </p:nvSpPr>
          <p:spPr bwMode="auto">
            <a:xfrm>
              <a:off x="2974909" y="1042779"/>
              <a:ext cx="404454" cy="2385514"/>
            </a:xfrm>
            <a:custGeom>
              <a:avLst/>
              <a:gdLst>
                <a:gd name="T0" fmla="*/ 0 w 2423"/>
                <a:gd name="T1" fmla="*/ 13491 h 13491"/>
                <a:gd name="T2" fmla="*/ 0 w 2423"/>
                <a:gd name="T3" fmla="*/ 0 h 13491"/>
                <a:gd name="T4" fmla="*/ 1 w 2423"/>
                <a:gd name="T5" fmla="*/ 0 h 13491"/>
                <a:gd name="T6" fmla="*/ 2423 w 2423"/>
                <a:gd name="T7" fmla="*/ 5774 h 13491"/>
                <a:gd name="T8" fmla="*/ 2423 w 2423"/>
                <a:gd name="T9" fmla="*/ 13491 h 13491"/>
                <a:gd name="T10" fmla="*/ 0 w 2423"/>
                <a:gd name="T11" fmla="*/ 13491 h 13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3" h="13491">
                  <a:moveTo>
                    <a:pt x="0" y="1349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423" y="5774"/>
                  </a:lnTo>
                  <a:lnTo>
                    <a:pt x="2423" y="13491"/>
                  </a:lnTo>
                  <a:lnTo>
                    <a:pt x="0" y="1349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0" name="Freeform 30"/>
            <p:cNvSpPr>
              <a:spLocks/>
            </p:cNvSpPr>
            <p:nvPr userDrawn="1"/>
          </p:nvSpPr>
          <p:spPr bwMode="auto">
            <a:xfrm>
              <a:off x="2974909" y="0"/>
              <a:ext cx="404454" cy="2064333"/>
            </a:xfrm>
            <a:custGeom>
              <a:avLst/>
              <a:gdLst>
                <a:gd name="T0" fmla="*/ 2423 w 2423"/>
                <a:gd name="T1" fmla="*/ 7824 h 11671"/>
                <a:gd name="T2" fmla="*/ 2423 w 2423"/>
                <a:gd name="T3" fmla="*/ 11638 h 11671"/>
                <a:gd name="T4" fmla="*/ 2423 w 2423"/>
                <a:gd name="T5" fmla="*/ 11671 h 11671"/>
                <a:gd name="T6" fmla="*/ 1 w 2423"/>
                <a:gd name="T7" fmla="*/ 5897 h 11671"/>
                <a:gd name="T8" fmla="*/ 17 w 2423"/>
                <a:gd name="T9" fmla="*/ 5897 h 11671"/>
                <a:gd name="T10" fmla="*/ 1 w 2423"/>
                <a:gd name="T11" fmla="*/ 5884 h 11671"/>
                <a:gd name="T12" fmla="*/ 0 w 2423"/>
                <a:gd name="T13" fmla="*/ 5884 h 11671"/>
                <a:gd name="T14" fmla="*/ 0 w 2423"/>
                <a:gd name="T15" fmla="*/ 0 h 11671"/>
                <a:gd name="T16" fmla="*/ 1 w 2423"/>
                <a:gd name="T17" fmla="*/ 0 h 11671"/>
                <a:gd name="T18" fmla="*/ 2423 w 2423"/>
                <a:gd name="T19" fmla="*/ 0 h 11671"/>
                <a:gd name="T20" fmla="*/ 2423 w 2423"/>
                <a:gd name="T21" fmla="*/ 5897 h 11671"/>
                <a:gd name="T22" fmla="*/ 2423 w 2423"/>
                <a:gd name="T23" fmla="*/ 7824 h 1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3" h="11671">
                  <a:moveTo>
                    <a:pt x="2423" y="7824"/>
                  </a:moveTo>
                  <a:lnTo>
                    <a:pt x="2423" y="11638"/>
                  </a:lnTo>
                  <a:lnTo>
                    <a:pt x="2423" y="11671"/>
                  </a:lnTo>
                  <a:lnTo>
                    <a:pt x="1" y="5897"/>
                  </a:lnTo>
                  <a:lnTo>
                    <a:pt x="17" y="5897"/>
                  </a:lnTo>
                  <a:lnTo>
                    <a:pt x="1" y="5884"/>
                  </a:lnTo>
                  <a:lnTo>
                    <a:pt x="0" y="5884"/>
                  </a:lnTo>
                  <a:lnTo>
                    <a:pt x="0" y="0"/>
                  </a:lnTo>
                  <a:lnTo>
                    <a:pt x="1" y="0"/>
                  </a:lnTo>
                  <a:lnTo>
                    <a:pt x="2423" y="0"/>
                  </a:lnTo>
                  <a:lnTo>
                    <a:pt x="2423" y="5897"/>
                  </a:lnTo>
                  <a:lnTo>
                    <a:pt x="2423" y="7824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0" y="1042779"/>
              <a:ext cx="2974909" cy="2385514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2" name="Freeform 32"/>
            <p:cNvSpPr>
              <a:spLocks/>
            </p:cNvSpPr>
            <p:nvPr/>
          </p:nvSpPr>
          <p:spPr bwMode="auto">
            <a:xfrm>
              <a:off x="7821001" y="0"/>
              <a:ext cx="1322999" cy="2750557"/>
            </a:xfrm>
            <a:custGeom>
              <a:avLst/>
              <a:gdLst>
                <a:gd name="T0" fmla="*/ 0 w 7917"/>
                <a:gd name="T1" fmla="*/ 11638 h 15548"/>
                <a:gd name="T2" fmla="*/ 0 w 7917"/>
                <a:gd name="T3" fmla="*/ 0 h 15548"/>
                <a:gd name="T4" fmla="*/ 7917 w 7917"/>
                <a:gd name="T5" fmla="*/ 0 h 15548"/>
                <a:gd name="T6" fmla="*/ 7917 w 7917"/>
                <a:gd name="T7" fmla="*/ 11638 h 15548"/>
                <a:gd name="T8" fmla="*/ 7917 w 7917"/>
                <a:gd name="T9" fmla="*/ 15548 h 15548"/>
                <a:gd name="T10" fmla="*/ 0 w 7917"/>
                <a:gd name="T11" fmla="*/ 15548 h 15548"/>
                <a:gd name="T12" fmla="*/ 0 w 7917"/>
                <a:gd name="T13" fmla="*/ 11638 h 15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17" h="15548">
                  <a:moveTo>
                    <a:pt x="0" y="11638"/>
                  </a:moveTo>
                  <a:lnTo>
                    <a:pt x="0" y="0"/>
                  </a:lnTo>
                  <a:lnTo>
                    <a:pt x="7917" y="0"/>
                  </a:lnTo>
                  <a:lnTo>
                    <a:pt x="7917" y="11638"/>
                  </a:lnTo>
                  <a:lnTo>
                    <a:pt x="7917" y="15548"/>
                  </a:lnTo>
                  <a:lnTo>
                    <a:pt x="0" y="15548"/>
                  </a:lnTo>
                  <a:lnTo>
                    <a:pt x="0" y="11638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39" y="3531201"/>
            <a:ext cx="3744416" cy="219004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39" y="1145687"/>
            <a:ext cx="3744416" cy="2177310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None/>
              <a:defRPr lang="en-US"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indent="0" algn="ctr"/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715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Yellow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 rot="5400000">
            <a:off x="2666996" y="-2667000"/>
            <a:ext cx="6858002" cy="12192001"/>
            <a:chOff x="0" y="0"/>
            <a:chExt cx="9144000" cy="6858001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 rot="10800000">
              <a:off x="3301263" y="2990373"/>
              <a:ext cx="437082" cy="3867627"/>
            </a:xfrm>
            <a:custGeom>
              <a:avLst/>
              <a:gdLst>
                <a:gd name="T0" fmla="*/ 0 w 2569"/>
                <a:gd name="T1" fmla="*/ 0 h 21654"/>
                <a:gd name="T2" fmla="*/ 0 w 2569"/>
                <a:gd name="T3" fmla="*/ 21654 h 21654"/>
                <a:gd name="T4" fmla="*/ 2 w 2569"/>
                <a:gd name="T5" fmla="*/ 21654 h 21654"/>
                <a:gd name="T6" fmla="*/ 2569 w 2569"/>
                <a:gd name="T7" fmla="*/ 19583 h 21654"/>
                <a:gd name="T8" fmla="*/ 2569 w 2569"/>
                <a:gd name="T9" fmla="*/ 0 h 21654"/>
                <a:gd name="T10" fmla="*/ 0 w 2569"/>
                <a:gd name="T11" fmla="*/ 0 h 2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9" h="21654">
                  <a:moveTo>
                    <a:pt x="0" y="0"/>
                  </a:moveTo>
                  <a:lnTo>
                    <a:pt x="0" y="21654"/>
                  </a:lnTo>
                  <a:lnTo>
                    <a:pt x="2" y="21654"/>
                  </a:lnTo>
                  <a:lnTo>
                    <a:pt x="2569" y="19583"/>
                  </a:lnTo>
                  <a:lnTo>
                    <a:pt x="256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4" name="Rectangle 6"/>
            <p:cNvSpPr>
              <a:spLocks noChangeArrowheads="1"/>
            </p:cNvSpPr>
            <p:nvPr/>
          </p:nvSpPr>
          <p:spPr bwMode="auto">
            <a:xfrm rot="10800000">
              <a:off x="1860662" y="3360420"/>
              <a:ext cx="1440600" cy="3497580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 rot="10800000">
              <a:off x="3301263" y="0"/>
              <a:ext cx="437082" cy="3360420"/>
            </a:xfrm>
            <a:custGeom>
              <a:avLst/>
              <a:gdLst>
                <a:gd name="T0" fmla="*/ 2569 w 2569"/>
                <a:gd name="T1" fmla="*/ 0 h 18816"/>
                <a:gd name="T2" fmla="*/ 2 w 2569"/>
                <a:gd name="T3" fmla="*/ 2071 h 18816"/>
                <a:gd name="T4" fmla="*/ 0 w 2569"/>
                <a:gd name="T5" fmla="*/ 2071 h 18816"/>
                <a:gd name="T6" fmla="*/ 0 w 2569"/>
                <a:gd name="T7" fmla="*/ 18816 h 18816"/>
                <a:gd name="T8" fmla="*/ 2 w 2569"/>
                <a:gd name="T9" fmla="*/ 18816 h 18816"/>
                <a:gd name="T10" fmla="*/ 2569 w 2569"/>
                <a:gd name="T11" fmla="*/ 18816 h 18816"/>
                <a:gd name="T12" fmla="*/ 2569 w 2569"/>
                <a:gd name="T13" fmla="*/ 8337 h 18816"/>
                <a:gd name="T14" fmla="*/ 2569 w 2569"/>
                <a:gd name="T15" fmla="*/ 0 h 18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9" h="18816">
                  <a:moveTo>
                    <a:pt x="2569" y="0"/>
                  </a:moveTo>
                  <a:lnTo>
                    <a:pt x="2" y="2071"/>
                  </a:lnTo>
                  <a:lnTo>
                    <a:pt x="0" y="2071"/>
                  </a:lnTo>
                  <a:lnTo>
                    <a:pt x="0" y="18816"/>
                  </a:lnTo>
                  <a:lnTo>
                    <a:pt x="2" y="18816"/>
                  </a:lnTo>
                  <a:lnTo>
                    <a:pt x="2569" y="18816"/>
                  </a:lnTo>
                  <a:lnTo>
                    <a:pt x="2569" y="8337"/>
                  </a:lnTo>
                  <a:lnTo>
                    <a:pt x="2569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 rot="10800000">
              <a:off x="1860662" y="0"/>
              <a:ext cx="1440600" cy="3360420"/>
            </a:xfrm>
            <a:custGeom>
              <a:avLst/>
              <a:gdLst>
                <a:gd name="T0" fmla="*/ 8461 w 8461"/>
                <a:gd name="T1" fmla="*/ 0 h 18816"/>
                <a:gd name="T2" fmla="*/ 0 w 8461"/>
                <a:gd name="T3" fmla="*/ 0 h 18816"/>
                <a:gd name="T4" fmla="*/ 0 w 8461"/>
                <a:gd name="T5" fmla="*/ 8337 h 18816"/>
                <a:gd name="T6" fmla="*/ 0 w 8461"/>
                <a:gd name="T7" fmla="*/ 18816 h 18816"/>
                <a:gd name="T8" fmla="*/ 8461 w 8461"/>
                <a:gd name="T9" fmla="*/ 18816 h 18816"/>
                <a:gd name="T10" fmla="*/ 8461 w 8461"/>
                <a:gd name="T11" fmla="*/ 8337 h 18816"/>
                <a:gd name="T12" fmla="*/ 8461 w 8461"/>
                <a:gd name="T13" fmla="*/ 0 h 18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61" h="18816">
                  <a:moveTo>
                    <a:pt x="8461" y="0"/>
                  </a:moveTo>
                  <a:lnTo>
                    <a:pt x="0" y="0"/>
                  </a:lnTo>
                  <a:lnTo>
                    <a:pt x="0" y="8337"/>
                  </a:lnTo>
                  <a:lnTo>
                    <a:pt x="0" y="18816"/>
                  </a:lnTo>
                  <a:lnTo>
                    <a:pt x="8461" y="18816"/>
                  </a:lnTo>
                  <a:lnTo>
                    <a:pt x="8461" y="8337"/>
                  </a:lnTo>
                  <a:lnTo>
                    <a:pt x="8461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 rot="10800000">
              <a:off x="1428346" y="3360420"/>
              <a:ext cx="432316" cy="3497580"/>
            </a:xfrm>
            <a:custGeom>
              <a:avLst/>
              <a:gdLst>
                <a:gd name="T0" fmla="*/ 0 w 2541"/>
                <a:gd name="T1" fmla="*/ 19583 h 19583"/>
                <a:gd name="T2" fmla="*/ 2 w 2541"/>
                <a:gd name="T3" fmla="*/ 19583 h 19583"/>
                <a:gd name="T4" fmla="*/ 2541 w 2541"/>
                <a:gd name="T5" fmla="*/ 17478 h 19583"/>
                <a:gd name="T6" fmla="*/ 2541 w 2541"/>
                <a:gd name="T7" fmla="*/ 0 h 19583"/>
                <a:gd name="T8" fmla="*/ 0 w 2541"/>
                <a:gd name="T9" fmla="*/ 0 h 19583"/>
                <a:gd name="T10" fmla="*/ 0 w 2541"/>
                <a:gd name="T11" fmla="*/ 19583 h 19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41" h="19583">
                  <a:moveTo>
                    <a:pt x="0" y="19583"/>
                  </a:moveTo>
                  <a:lnTo>
                    <a:pt x="2" y="19583"/>
                  </a:lnTo>
                  <a:lnTo>
                    <a:pt x="2541" y="17478"/>
                  </a:lnTo>
                  <a:lnTo>
                    <a:pt x="2541" y="0"/>
                  </a:lnTo>
                  <a:lnTo>
                    <a:pt x="0" y="0"/>
                  </a:lnTo>
                  <a:lnTo>
                    <a:pt x="0" y="19583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 rot="10800000">
              <a:off x="1428346" y="0"/>
              <a:ext cx="432316" cy="3736182"/>
            </a:xfrm>
            <a:custGeom>
              <a:avLst/>
              <a:gdLst>
                <a:gd name="T0" fmla="*/ 2541 w 2541"/>
                <a:gd name="T1" fmla="*/ 0 h 20921"/>
                <a:gd name="T2" fmla="*/ 2 w 2541"/>
                <a:gd name="T3" fmla="*/ 2105 h 20921"/>
                <a:gd name="T4" fmla="*/ 0 w 2541"/>
                <a:gd name="T5" fmla="*/ 2105 h 20921"/>
                <a:gd name="T6" fmla="*/ 0 w 2541"/>
                <a:gd name="T7" fmla="*/ 10442 h 20921"/>
                <a:gd name="T8" fmla="*/ 0 w 2541"/>
                <a:gd name="T9" fmla="*/ 20921 h 20921"/>
                <a:gd name="T10" fmla="*/ 2541 w 2541"/>
                <a:gd name="T11" fmla="*/ 20921 h 20921"/>
                <a:gd name="T12" fmla="*/ 2541 w 2541"/>
                <a:gd name="T13" fmla="*/ 4176 h 20921"/>
                <a:gd name="T14" fmla="*/ 2541 w 2541"/>
                <a:gd name="T15" fmla="*/ 0 h 20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41" h="20921">
                  <a:moveTo>
                    <a:pt x="2541" y="0"/>
                  </a:moveTo>
                  <a:lnTo>
                    <a:pt x="2" y="2105"/>
                  </a:lnTo>
                  <a:lnTo>
                    <a:pt x="0" y="2105"/>
                  </a:lnTo>
                  <a:lnTo>
                    <a:pt x="0" y="10442"/>
                  </a:lnTo>
                  <a:lnTo>
                    <a:pt x="0" y="20921"/>
                  </a:lnTo>
                  <a:lnTo>
                    <a:pt x="2541" y="20921"/>
                  </a:lnTo>
                  <a:lnTo>
                    <a:pt x="2541" y="4176"/>
                  </a:lnTo>
                  <a:lnTo>
                    <a:pt x="2541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9" name="Rectangle 11"/>
            <p:cNvSpPr>
              <a:spLocks noChangeArrowheads="1"/>
            </p:cNvSpPr>
            <p:nvPr/>
          </p:nvSpPr>
          <p:spPr bwMode="auto">
            <a:xfrm rot="10800000">
              <a:off x="0" y="3736181"/>
              <a:ext cx="1428346" cy="3121819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 rot="10800000">
              <a:off x="3738344" y="2990373"/>
              <a:ext cx="2484287" cy="3867627"/>
            </a:xfrm>
            <a:custGeom>
              <a:avLst/>
              <a:gdLst>
                <a:gd name="T0" fmla="*/ 0 w 14597"/>
                <a:gd name="T1" fmla="*/ 0 h 21654"/>
                <a:gd name="T2" fmla="*/ 0 w 14597"/>
                <a:gd name="T3" fmla="*/ 21620 h 21654"/>
                <a:gd name="T4" fmla="*/ 0 w 14597"/>
                <a:gd name="T5" fmla="*/ 21654 h 21654"/>
                <a:gd name="T6" fmla="*/ 14597 w 14597"/>
                <a:gd name="T7" fmla="*/ 21654 h 21654"/>
                <a:gd name="T8" fmla="*/ 14597 w 14597"/>
                <a:gd name="T9" fmla="*/ 0 h 21654"/>
                <a:gd name="T10" fmla="*/ 0 w 14597"/>
                <a:gd name="T11" fmla="*/ 0 h 2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97" h="21654">
                  <a:moveTo>
                    <a:pt x="0" y="0"/>
                  </a:moveTo>
                  <a:lnTo>
                    <a:pt x="0" y="21620"/>
                  </a:lnTo>
                  <a:lnTo>
                    <a:pt x="0" y="21654"/>
                  </a:lnTo>
                  <a:lnTo>
                    <a:pt x="14597" y="21654"/>
                  </a:lnTo>
                  <a:lnTo>
                    <a:pt x="14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auto">
            <a:xfrm rot="10800000">
              <a:off x="3738344" y="0"/>
              <a:ext cx="2484287" cy="2990374"/>
            </a:xfrm>
            <a:custGeom>
              <a:avLst/>
              <a:gdLst>
                <a:gd name="T0" fmla="*/ 0 w 14597"/>
                <a:gd name="T1" fmla="*/ 0 h 16745"/>
                <a:gd name="T2" fmla="*/ 0 w 14597"/>
                <a:gd name="T3" fmla="*/ 4076 h 16745"/>
                <a:gd name="T4" fmla="*/ 0 w 14597"/>
                <a:gd name="T5" fmla="*/ 6135 h 16745"/>
                <a:gd name="T6" fmla="*/ 0 w 14597"/>
                <a:gd name="T7" fmla="*/ 16745 h 16745"/>
                <a:gd name="T8" fmla="*/ 14597 w 14597"/>
                <a:gd name="T9" fmla="*/ 16745 h 16745"/>
                <a:gd name="T10" fmla="*/ 14597 w 14597"/>
                <a:gd name="T11" fmla="*/ 0 h 16745"/>
                <a:gd name="T12" fmla="*/ 0 w 14597"/>
                <a:gd name="T13" fmla="*/ 0 h 16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97" h="16745">
                  <a:moveTo>
                    <a:pt x="0" y="0"/>
                  </a:moveTo>
                  <a:lnTo>
                    <a:pt x="0" y="4076"/>
                  </a:lnTo>
                  <a:lnTo>
                    <a:pt x="0" y="6135"/>
                  </a:lnTo>
                  <a:lnTo>
                    <a:pt x="0" y="16745"/>
                  </a:lnTo>
                  <a:lnTo>
                    <a:pt x="14597" y="16745"/>
                  </a:lnTo>
                  <a:lnTo>
                    <a:pt x="14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 rot="10800000">
              <a:off x="6659713" y="0"/>
              <a:ext cx="2484287" cy="1894523"/>
            </a:xfrm>
            <a:custGeom>
              <a:avLst/>
              <a:gdLst>
                <a:gd name="T0" fmla="*/ 14596 w 14596"/>
                <a:gd name="T1" fmla="*/ 0 h 10610"/>
                <a:gd name="T2" fmla="*/ 0 w 14596"/>
                <a:gd name="T3" fmla="*/ 0 h 10610"/>
                <a:gd name="T4" fmla="*/ 0 w 14596"/>
                <a:gd name="T5" fmla="*/ 10610 h 10610"/>
                <a:gd name="T6" fmla="*/ 14596 w 14596"/>
                <a:gd name="T7" fmla="*/ 10610 h 10610"/>
                <a:gd name="T8" fmla="*/ 14596 w 14596"/>
                <a:gd name="T9" fmla="*/ 13 h 10610"/>
                <a:gd name="T10" fmla="*/ 14596 w 14596"/>
                <a:gd name="T11" fmla="*/ 0 h 10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96" h="10610">
                  <a:moveTo>
                    <a:pt x="14596" y="0"/>
                  </a:moveTo>
                  <a:lnTo>
                    <a:pt x="0" y="0"/>
                  </a:lnTo>
                  <a:lnTo>
                    <a:pt x="0" y="10610"/>
                  </a:lnTo>
                  <a:lnTo>
                    <a:pt x="14596" y="10610"/>
                  </a:lnTo>
                  <a:lnTo>
                    <a:pt x="14596" y="13"/>
                  </a:lnTo>
                  <a:lnTo>
                    <a:pt x="14596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 rot="10800000">
              <a:off x="6222631" y="1894523"/>
              <a:ext cx="437082" cy="4963478"/>
            </a:xfrm>
            <a:custGeom>
              <a:avLst/>
              <a:gdLst>
                <a:gd name="T0" fmla="*/ 0 w 2568"/>
                <a:gd name="T1" fmla="*/ 0 h 27789"/>
                <a:gd name="T2" fmla="*/ 0 w 2568"/>
                <a:gd name="T3" fmla="*/ 27789 h 27789"/>
                <a:gd name="T4" fmla="*/ 2 w 2568"/>
                <a:gd name="T5" fmla="*/ 27789 h 27789"/>
                <a:gd name="T6" fmla="*/ 2568 w 2568"/>
                <a:gd name="T7" fmla="*/ 21620 h 27789"/>
                <a:gd name="T8" fmla="*/ 2568 w 2568"/>
                <a:gd name="T9" fmla="*/ 0 h 27789"/>
                <a:gd name="T10" fmla="*/ 0 w 2568"/>
                <a:gd name="T11" fmla="*/ 0 h 27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8" h="27789">
                  <a:moveTo>
                    <a:pt x="0" y="0"/>
                  </a:moveTo>
                  <a:lnTo>
                    <a:pt x="0" y="27789"/>
                  </a:lnTo>
                  <a:lnTo>
                    <a:pt x="2" y="27789"/>
                  </a:lnTo>
                  <a:lnTo>
                    <a:pt x="2568" y="21620"/>
                  </a:lnTo>
                  <a:lnTo>
                    <a:pt x="256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 rot="10800000">
              <a:off x="6222631" y="0"/>
              <a:ext cx="437082" cy="2996089"/>
            </a:xfrm>
            <a:custGeom>
              <a:avLst/>
              <a:gdLst>
                <a:gd name="T0" fmla="*/ 2568 w 2568"/>
                <a:gd name="T1" fmla="*/ 4110 h 16779"/>
                <a:gd name="T2" fmla="*/ 2568 w 2568"/>
                <a:gd name="T3" fmla="*/ 34 h 16779"/>
                <a:gd name="T4" fmla="*/ 2568 w 2568"/>
                <a:gd name="T5" fmla="*/ 0 h 16779"/>
                <a:gd name="T6" fmla="*/ 2 w 2568"/>
                <a:gd name="T7" fmla="*/ 6169 h 16779"/>
                <a:gd name="T8" fmla="*/ 19 w 2568"/>
                <a:gd name="T9" fmla="*/ 6169 h 16779"/>
                <a:gd name="T10" fmla="*/ 2 w 2568"/>
                <a:gd name="T11" fmla="*/ 6182 h 16779"/>
                <a:gd name="T12" fmla="*/ 0 w 2568"/>
                <a:gd name="T13" fmla="*/ 6182 h 16779"/>
                <a:gd name="T14" fmla="*/ 0 w 2568"/>
                <a:gd name="T15" fmla="*/ 16779 h 16779"/>
                <a:gd name="T16" fmla="*/ 2 w 2568"/>
                <a:gd name="T17" fmla="*/ 16779 h 16779"/>
                <a:gd name="T18" fmla="*/ 2568 w 2568"/>
                <a:gd name="T19" fmla="*/ 16779 h 16779"/>
                <a:gd name="T20" fmla="*/ 2568 w 2568"/>
                <a:gd name="T21" fmla="*/ 6169 h 16779"/>
                <a:gd name="T22" fmla="*/ 2568 w 2568"/>
                <a:gd name="T23" fmla="*/ 4110 h 16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68" h="16779">
                  <a:moveTo>
                    <a:pt x="2568" y="4110"/>
                  </a:moveTo>
                  <a:lnTo>
                    <a:pt x="2568" y="34"/>
                  </a:lnTo>
                  <a:lnTo>
                    <a:pt x="2568" y="0"/>
                  </a:lnTo>
                  <a:lnTo>
                    <a:pt x="2" y="6169"/>
                  </a:lnTo>
                  <a:lnTo>
                    <a:pt x="19" y="6169"/>
                  </a:lnTo>
                  <a:lnTo>
                    <a:pt x="2" y="6182"/>
                  </a:lnTo>
                  <a:lnTo>
                    <a:pt x="0" y="6182"/>
                  </a:lnTo>
                  <a:lnTo>
                    <a:pt x="0" y="16779"/>
                  </a:lnTo>
                  <a:lnTo>
                    <a:pt x="2" y="16779"/>
                  </a:lnTo>
                  <a:lnTo>
                    <a:pt x="2568" y="16779"/>
                  </a:lnTo>
                  <a:lnTo>
                    <a:pt x="2568" y="6169"/>
                  </a:lnTo>
                  <a:lnTo>
                    <a:pt x="2568" y="411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5" name="Rectangle 17"/>
            <p:cNvSpPr>
              <a:spLocks noChangeArrowheads="1"/>
            </p:cNvSpPr>
            <p:nvPr/>
          </p:nvSpPr>
          <p:spPr bwMode="auto">
            <a:xfrm rot="10800000">
              <a:off x="6659713" y="1894523"/>
              <a:ext cx="2484287" cy="4963478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 rot="10800000">
              <a:off x="0" y="0"/>
              <a:ext cx="1428346" cy="3736182"/>
            </a:xfrm>
            <a:custGeom>
              <a:avLst/>
              <a:gdLst>
                <a:gd name="T0" fmla="*/ 0 w 8393"/>
                <a:gd name="T1" fmla="*/ 4176 h 20921"/>
                <a:gd name="T2" fmla="*/ 0 w 8393"/>
                <a:gd name="T3" fmla="*/ 20921 h 20921"/>
                <a:gd name="T4" fmla="*/ 8393 w 8393"/>
                <a:gd name="T5" fmla="*/ 20921 h 20921"/>
                <a:gd name="T6" fmla="*/ 8393 w 8393"/>
                <a:gd name="T7" fmla="*/ 4176 h 20921"/>
                <a:gd name="T8" fmla="*/ 8393 w 8393"/>
                <a:gd name="T9" fmla="*/ 0 h 20921"/>
                <a:gd name="T10" fmla="*/ 0 w 8393"/>
                <a:gd name="T11" fmla="*/ 0 h 20921"/>
                <a:gd name="T12" fmla="*/ 0 w 8393"/>
                <a:gd name="T13" fmla="*/ 4176 h 20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93" h="20921">
                  <a:moveTo>
                    <a:pt x="0" y="4176"/>
                  </a:moveTo>
                  <a:lnTo>
                    <a:pt x="0" y="20921"/>
                  </a:lnTo>
                  <a:lnTo>
                    <a:pt x="8393" y="20921"/>
                  </a:lnTo>
                  <a:lnTo>
                    <a:pt x="8393" y="4176"/>
                  </a:lnTo>
                  <a:lnTo>
                    <a:pt x="8393" y="0"/>
                  </a:lnTo>
                  <a:lnTo>
                    <a:pt x="0" y="0"/>
                  </a:lnTo>
                  <a:lnTo>
                    <a:pt x="0" y="4176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40" y="5085184"/>
            <a:ext cx="8544949" cy="1667520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40" y="2920812"/>
            <a:ext cx="652872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341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Blue/Yellow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20" name="Freeform 5"/>
            <p:cNvSpPr>
              <a:spLocks/>
            </p:cNvSpPr>
            <p:nvPr/>
          </p:nvSpPr>
          <p:spPr bwMode="auto">
            <a:xfrm>
              <a:off x="5681073" y="3428293"/>
              <a:ext cx="405122" cy="1371034"/>
            </a:xfrm>
            <a:custGeom>
              <a:avLst/>
              <a:gdLst>
                <a:gd name="T0" fmla="*/ 0 w 2424"/>
                <a:gd name="T1" fmla="*/ 0 h 7748"/>
                <a:gd name="T2" fmla="*/ 0 w 2424"/>
                <a:gd name="T3" fmla="*/ 7748 h 7748"/>
                <a:gd name="T4" fmla="*/ 2 w 2424"/>
                <a:gd name="T5" fmla="*/ 7748 h 7748"/>
                <a:gd name="T6" fmla="*/ 2424 w 2424"/>
                <a:gd name="T7" fmla="*/ 5809 h 7748"/>
                <a:gd name="T8" fmla="*/ 2424 w 2424"/>
                <a:gd name="T9" fmla="*/ 0 h 7748"/>
                <a:gd name="T10" fmla="*/ 0 w 2424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4" h="7748">
                  <a:moveTo>
                    <a:pt x="0" y="0"/>
                  </a:moveTo>
                  <a:lnTo>
                    <a:pt x="0" y="7748"/>
                  </a:lnTo>
                  <a:lnTo>
                    <a:pt x="2" y="7748"/>
                  </a:lnTo>
                  <a:lnTo>
                    <a:pt x="2424" y="5809"/>
                  </a:lnTo>
                  <a:lnTo>
                    <a:pt x="242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/>
          </p:nvSpPr>
          <p:spPr bwMode="auto">
            <a:xfrm>
              <a:off x="6086195" y="3428293"/>
              <a:ext cx="1334364" cy="1028630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7" name="Freeform 7"/>
            <p:cNvSpPr>
              <a:spLocks/>
            </p:cNvSpPr>
            <p:nvPr userDrawn="1"/>
          </p:nvSpPr>
          <p:spPr bwMode="auto">
            <a:xfrm>
              <a:off x="5681073" y="4456922"/>
              <a:ext cx="405122" cy="2401078"/>
            </a:xfrm>
            <a:custGeom>
              <a:avLst/>
              <a:gdLst>
                <a:gd name="T0" fmla="*/ 2424 w 2424"/>
                <a:gd name="T1" fmla="*/ 0 h 13579"/>
                <a:gd name="T2" fmla="*/ 2 w 2424"/>
                <a:gd name="T3" fmla="*/ 1939 h 13579"/>
                <a:gd name="T4" fmla="*/ 0 w 2424"/>
                <a:gd name="T5" fmla="*/ 1939 h 13579"/>
                <a:gd name="T6" fmla="*/ 0 w 2424"/>
                <a:gd name="T7" fmla="*/ 13579 h 13579"/>
                <a:gd name="T8" fmla="*/ 2 w 2424"/>
                <a:gd name="T9" fmla="*/ 13579 h 13579"/>
                <a:gd name="T10" fmla="*/ 2424 w 2424"/>
                <a:gd name="T11" fmla="*/ 13579 h 13579"/>
                <a:gd name="T12" fmla="*/ 2424 w 2424"/>
                <a:gd name="T13" fmla="*/ 7805 h 13579"/>
                <a:gd name="T14" fmla="*/ 2424 w 2424"/>
                <a:gd name="T15" fmla="*/ 0 h 13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24" h="13579">
                  <a:moveTo>
                    <a:pt x="2424" y="0"/>
                  </a:moveTo>
                  <a:lnTo>
                    <a:pt x="2" y="1939"/>
                  </a:lnTo>
                  <a:lnTo>
                    <a:pt x="0" y="1939"/>
                  </a:lnTo>
                  <a:lnTo>
                    <a:pt x="0" y="13579"/>
                  </a:lnTo>
                  <a:lnTo>
                    <a:pt x="2" y="13579"/>
                  </a:lnTo>
                  <a:lnTo>
                    <a:pt x="2424" y="13579"/>
                  </a:lnTo>
                  <a:lnTo>
                    <a:pt x="2424" y="7805"/>
                  </a:lnTo>
                  <a:lnTo>
                    <a:pt x="2424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6086195" y="4456922"/>
              <a:ext cx="1334364" cy="2401078"/>
            </a:xfrm>
            <a:custGeom>
              <a:avLst/>
              <a:gdLst>
                <a:gd name="T0" fmla="*/ 7982 w 7982"/>
                <a:gd name="T1" fmla="*/ 0 h 13579"/>
                <a:gd name="T2" fmla="*/ 0 w 7982"/>
                <a:gd name="T3" fmla="*/ 0 h 13579"/>
                <a:gd name="T4" fmla="*/ 0 w 7982"/>
                <a:gd name="T5" fmla="*/ 7805 h 13579"/>
                <a:gd name="T6" fmla="*/ 0 w 7982"/>
                <a:gd name="T7" fmla="*/ 13579 h 13579"/>
                <a:gd name="T8" fmla="*/ 7982 w 7982"/>
                <a:gd name="T9" fmla="*/ 13579 h 13579"/>
                <a:gd name="T10" fmla="*/ 7982 w 7982"/>
                <a:gd name="T11" fmla="*/ 7805 h 13579"/>
                <a:gd name="T12" fmla="*/ 7982 w 7982"/>
                <a:gd name="T13" fmla="*/ 0 h 13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82" h="13579">
                  <a:moveTo>
                    <a:pt x="7982" y="0"/>
                  </a:moveTo>
                  <a:lnTo>
                    <a:pt x="0" y="0"/>
                  </a:lnTo>
                  <a:lnTo>
                    <a:pt x="0" y="7805"/>
                  </a:lnTo>
                  <a:lnTo>
                    <a:pt x="0" y="13579"/>
                  </a:lnTo>
                  <a:lnTo>
                    <a:pt x="7982" y="13579"/>
                  </a:lnTo>
                  <a:lnTo>
                    <a:pt x="7982" y="7805"/>
                  </a:lnTo>
                  <a:lnTo>
                    <a:pt x="7982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7420559" y="3428293"/>
              <a:ext cx="400443" cy="1028630"/>
            </a:xfrm>
            <a:custGeom>
              <a:avLst/>
              <a:gdLst>
                <a:gd name="T0" fmla="*/ 0 w 2397"/>
                <a:gd name="T1" fmla="*/ 5809 h 5809"/>
                <a:gd name="T2" fmla="*/ 1 w 2397"/>
                <a:gd name="T3" fmla="*/ 5809 h 5809"/>
                <a:gd name="T4" fmla="*/ 2397 w 2397"/>
                <a:gd name="T5" fmla="*/ 3839 h 5809"/>
                <a:gd name="T6" fmla="*/ 2397 w 2397"/>
                <a:gd name="T7" fmla="*/ 0 h 5809"/>
                <a:gd name="T8" fmla="*/ 0 w 2397"/>
                <a:gd name="T9" fmla="*/ 0 h 5809"/>
                <a:gd name="T10" fmla="*/ 0 w 2397"/>
                <a:gd name="T11" fmla="*/ 5809 h 5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7" h="5809">
                  <a:moveTo>
                    <a:pt x="0" y="5809"/>
                  </a:moveTo>
                  <a:lnTo>
                    <a:pt x="1" y="5809"/>
                  </a:lnTo>
                  <a:lnTo>
                    <a:pt x="2397" y="3839"/>
                  </a:lnTo>
                  <a:lnTo>
                    <a:pt x="2397" y="0"/>
                  </a:lnTo>
                  <a:lnTo>
                    <a:pt x="0" y="0"/>
                  </a:lnTo>
                  <a:lnTo>
                    <a:pt x="0" y="5809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0" name="Freeform 10"/>
            <p:cNvSpPr>
              <a:spLocks/>
            </p:cNvSpPr>
            <p:nvPr userDrawn="1"/>
          </p:nvSpPr>
          <p:spPr bwMode="auto">
            <a:xfrm>
              <a:off x="7420559" y="4107443"/>
              <a:ext cx="400443" cy="2750557"/>
            </a:xfrm>
            <a:custGeom>
              <a:avLst/>
              <a:gdLst>
                <a:gd name="T0" fmla="*/ 2397 w 2397"/>
                <a:gd name="T1" fmla="*/ 0 h 15549"/>
                <a:gd name="T2" fmla="*/ 1 w 2397"/>
                <a:gd name="T3" fmla="*/ 1970 h 15549"/>
                <a:gd name="T4" fmla="*/ 0 w 2397"/>
                <a:gd name="T5" fmla="*/ 1970 h 15549"/>
                <a:gd name="T6" fmla="*/ 0 w 2397"/>
                <a:gd name="T7" fmla="*/ 9775 h 15549"/>
                <a:gd name="T8" fmla="*/ 0 w 2397"/>
                <a:gd name="T9" fmla="*/ 15549 h 15549"/>
                <a:gd name="T10" fmla="*/ 2397 w 2397"/>
                <a:gd name="T11" fmla="*/ 15549 h 15549"/>
                <a:gd name="T12" fmla="*/ 2397 w 2397"/>
                <a:gd name="T13" fmla="*/ 3909 h 15549"/>
                <a:gd name="T14" fmla="*/ 2397 w 2397"/>
                <a:gd name="T15" fmla="*/ 0 h 15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97" h="15549">
                  <a:moveTo>
                    <a:pt x="2397" y="0"/>
                  </a:moveTo>
                  <a:lnTo>
                    <a:pt x="1" y="1970"/>
                  </a:lnTo>
                  <a:lnTo>
                    <a:pt x="0" y="1970"/>
                  </a:lnTo>
                  <a:lnTo>
                    <a:pt x="0" y="9775"/>
                  </a:lnTo>
                  <a:lnTo>
                    <a:pt x="0" y="15549"/>
                  </a:lnTo>
                  <a:lnTo>
                    <a:pt x="2397" y="15549"/>
                  </a:lnTo>
                  <a:lnTo>
                    <a:pt x="2397" y="3909"/>
                  </a:lnTo>
                  <a:lnTo>
                    <a:pt x="2397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1" name="Rectangle 11"/>
            <p:cNvSpPr>
              <a:spLocks noChangeArrowheads="1"/>
            </p:cNvSpPr>
            <p:nvPr/>
          </p:nvSpPr>
          <p:spPr bwMode="auto">
            <a:xfrm>
              <a:off x="7821001" y="3428293"/>
              <a:ext cx="1322999" cy="679150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2" name="Freeform 12"/>
            <p:cNvSpPr>
              <a:spLocks/>
            </p:cNvSpPr>
            <p:nvPr/>
          </p:nvSpPr>
          <p:spPr bwMode="auto">
            <a:xfrm>
              <a:off x="3379362" y="3428293"/>
              <a:ext cx="2301710" cy="1371034"/>
            </a:xfrm>
            <a:custGeom>
              <a:avLst/>
              <a:gdLst>
                <a:gd name="T0" fmla="*/ 0 w 13770"/>
                <a:gd name="T1" fmla="*/ 0 h 7748"/>
                <a:gd name="T2" fmla="*/ 0 w 13770"/>
                <a:gd name="T3" fmla="*/ 7715 h 7748"/>
                <a:gd name="T4" fmla="*/ 0 w 13770"/>
                <a:gd name="T5" fmla="*/ 7748 h 7748"/>
                <a:gd name="T6" fmla="*/ 13770 w 13770"/>
                <a:gd name="T7" fmla="*/ 7748 h 7748"/>
                <a:gd name="T8" fmla="*/ 13770 w 13770"/>
                <a:gd name="T9" fmla="*/ 0 h 7748"/>
                <a:gd name="T10" fmla="*/ 0 w 13770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48">
                  <a:moveTo>
                    <a:pt x="0" y="0"/>
                  </a:moveTo>
                  <a:lnTo>
                    <a:pt x="0" y="7715"/>
                  </a:lnTo>
                  <a:lnTo>
                    <a:pt x="0" y="7748"/>
                  </a:lnTo>
                  <a:lnTo>
                    <a:pt x="13770" y="7748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3" name="Freeform 13"/>
            <p:cNvSpPr>
              <a:spLocks/>
            </p:cNvSpPr>
            <p:nvPr/>
          </p:nvSpPr>
          <p:spPr bwMode="auto">
            <a:xfrm>
              <a:off x="3379362" y="4799326"/>
              <a:ext cx="2301710" cy="2058674"/>
            </a:xfrm>
            <a:custGeom>
              <a:avLst/>
              <a:gdLst>
                <a:gd name="T0" fmla="*/ 0 w 13770"/>
                <a:gd name="T1" fmla="*/ 0 h 11640"/>
                <a:gd name="T2" fmla="*/ 0 w 13770"/>
                <a:gd name="T3" fmla="*/ 3816 h 11640"/>
                <a:gd name="T4" fmla="*/ 0 w 13770"/>
                <a:gd name="T5" fmla="*/ 5743 h 11640"/>
                <a:gd name="T6" fmla="*/ 0 w 13770"/>
                <a:gd name="T7" fmla="*/ 11640 h 11640"/>
                <a:gd name="T8" fmla="*/ 13770 w 13770"/>
                <a:gd name="T9" fmla="*/ 11640 h 11640"/>
                <a:gd name="T10" fmla="*/ 13770 w 13770"/>
                <a:gd name="T11" fmla="*/ 0 h 11640"/>
                <a:gd name="T12" fmla="*/ 0 w 13770"/>
                <a:gd name="T13" fmla="*/ 0 h 11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70" h="11640">
                  <a:moveTo>
                    <a:pt x="0" y="0"/>
                  </a:moveTo>
                  <a:lnTo>
                    <a:pt x="0" y="3816"/>
                  </a:lnTo>
                  <a:lnTo>
                    <a:pt x="0" y="5743"/>
                  </a:lnTo>
                  <a:lnTo>
                    <a:pt x="0" y="11640"/>
                  </a:lnTo>
                  <a:lnTo>
                    <a:pt x="13770" y="11640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4" name="Freeform 14"/>
            <p:cNvSpPr>
              <a:spLocks/>
            </p:cNvSpPr>
            <p:nvPr/>
          </p:nvSpPr>
          <p:spPr bwMode="auto">
            <a:xfrm>
              <a:off x="0" y="5815221"/>
              <a:ext cx="2974909" cy="1042779"/>
            </a:xfrm>
            <a:custGeom>
              <a:avLst/>
              <a:gdLst>
                <a:gd name="T0" fmla="*/ 17799 w 17799"/>
                <a:gd name="T1" fmla="*/ 0 h 5897"/>
                <a:gd name="T2" fmla="*/ 0 w 17799"/>
                <a:gd name="T3" fmla="*/ 0 h 5897"/>
                <a:gd name="T4" fmla="*/ 0 w 17799"/>
                <a:gd name="T5" fmla="*/ 5897 h 5897"/>
                <a:gd name="T6" fmla="*/ 17799 w 17799"/>
                <a:gd name="T7" fmla="*/ 5897 h 5897"/>
                <a:gd name="T8" fmla="*/ 17799 w 17799"/>
                <a:gd name="T9" fmla="*/ 12 h 5897"/>
                <a:gd name="T10" fmla="*/ 17799 w 17799"/>
                <a:gd name="T11" fmla="*/ 0 h 5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99" h="5897">
                  <a:moveTo>
                    <a:pt x="17799" y="0"/>
                  </a:moveTo>
                  <a:lnTo>
                    <a:pt x="0" y="0"/>
                  </a:lnTo>
                  <a:lnTo>
                    <a:pt x="0" y="5897"/>
                  </a:lnTo>
                  <a:lnTo>
                    <a:pt x="17799" y="5897"/>
                  </a:lnTo>
                  <a:lnTo>
                    <a:pt x="17799" y="12"/>
                  </a:lnTo>
                  <a:lnTo>
                    <a:pt x="17799" y="0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auto">
            <a:xfrm>
              <a:off x="2974909" y="3428293"/>
              <a:ext cx="404454" cy="2386930"/>
            </a:xfrm>
            <a:custGeom>
              <a:avLst/>
              <a:gdLst>
                <a:gd name="T0" fmla="*/ 0 w 2423"/>
                <a:gd name="T1" fmla="*/ 0 h 13491"/>
                <a:gd name="T2" fmla="*/ 0 w 2423"/>
                <a:gd name="T3" fmla="*/ 13491 h 13491"/>
                <a:gd name="T4" fmla="*/ 1 w 2423"/>
                <a:gd name="T5" fmla="*/ 13491 h 13491"/>
                <a:gd name="T6" fmla="*/ 2423 w 2423"/>
                <a:gd name="T7" fmla="*/ 7715 h 13491"/>
                <a:gd name="T8" fmla="*/ 2423 w 2423"/>
                <a:gd name="T9" fmla="*/ 0 h 13491"/>
                <a:gd name="T10" fmla="*/ 0 w 2423"/>
                <a:gd name="T11" fmla="*/ 0 h 13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3" h="13491">
                  <a:moveTo>
                    <a:pt x="0" y="0"/>
                  </a:moveTo>
                  <a:lnTo>
                    <a:pt x="0" y="13491"/>
                  </a:lnTo>
                  <a:lnTo>
                    <a:pt x="1" y="13491"/>
                  </a:lnTo>
                  <a:lnTo>
                    <a:pt x="2423" y="7715"/>
                  </a:lnTo>
                  <a:lnTo>
                    <a:pt x="24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6" name="Freeform 16"/>
            <p:cNvSpPr>
              <a:spLocks/>
            </p:cNvSpPr>
            <p:nvPr userDrawn="1"/>
          </p:nvSpPr>
          <p:spPr bwMode="auto">
            <a:xfrm>
              <a:off x="2974909" y="4793667"/>
              <a:ext cx="404454" cy="2064333"/>
            </a:xfrm>
            <a:custGeom>
              <a:avLst/>
              <a:gdLst>
                <a:gd name="T0" fmla="*/ 2423 w 2423"/>
                <a:gd name="T1" fmla="*/ 3849 h 11673"/>
                <a:gd name="T2" fmla="*/ 2423 w 2423"/>
                <a:gd name="T3" fmla="*/ 33 h 11673"/>
                <a:gd name="T4" fmla="*/ 2423 w 2423"/>
                <a:gd name="T5" fmla="*/ 0 h 11673"/>
                <a:gd name="T6" fmla="*/ 1 w 2423"/>
                <a:gd name="T7" fmla="*/ 5776 h 11673"/>
                <a:gd name="T8" fmla="*/ 17 w 2423"/>
                <a:gd name="T9" fmla="*/ 5776 h 11673"/>
                <a:gd name="T10" fmla="*/ 1 w 2423"/>
                <a:gd name="T11" fmla="*/ 5788 h 11673"/>
                <a:gd name="T12" fmla="*/ 0 w 2423"/>
                <a:gd name="T13" fmla="*/ 5788 h 11673"/>
                <a:gd name="T14" fmla="*/ 0 w 2423"/>
                <a:gd name="T15" fmla="*/ 11673 h 11673"/>
                <a:gd name="T16" fmla="*/ 1 w 2423"/>
                <a:gd name="T17" fmla="*/ 11673 h 11673"/>
                <a:gd name="T18" fmla="*/ 2423 w 2423"/>
                <a:gd name="T19" fmla="*/ 11673 h 11673"/>
                <a:gd name="T20" fmla="*/ 2423 w 2423"/>
                <a:gd name="T21" fmla="*/ 5776 h 11673"/>
                <a:gd name="T22" fmla="*/ 2423 w 2423"/>
                <a:gd name="T23" fmla="*/ 3849 h 11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3" h="11673">
                  <a:moveTo>
                    <a:pt x="2423" y="3849"/>
                  </a:moveTo>
                  <a:lnTo>
                    <a:pt x="2423" y="33"/>
                  </a:lnTo>
                  <a:lnTo>
                    <a:pt x="2423" y="0"/>
                  </a:lnTo>
                  <a:lnTo>
                    <a:pt x="1" y="5776"/>
                  </a:lnTo>
                  <a:lnTo>
                    <a:pt x="17" y="5776"/>
                  </a:lnTo>
                  <a:lnTo>
                    <a:pt x="1" y="5788"/>
                  </a:lnTo>
                  <a:lnTo>
                    <a:pt x="0" y="5788"/>
                  </a:lnTo>
                  <a:lnTo>
                    <a:pt x="0" y="11673"/>
                  </a:lnTo>
                  <a:lnTo>
                    <a:pt x="1" y="11673"/>
                  </a:lnTo>
                  <a:lnTo>
                    <a:pt x="2423" y="11673"/>
                  </a:lnTo>
                  <a:lnTo>
                    <a:pt x="2423" y="5776"/>
                  </a:lnTo>
                  <a:lnTo>
                    <a:pt x="2423" y="3849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7" name="Rectangle 17"/>
            <p:cNvSpPr>
              <a:spLocks noChangeArrowheads="1"/>
            </p:cNvSpPr>
            <p:nvPr/>
          </p:nvSpPr>
          <p:spPr bwMode="auto">
            <a:xfrm>
              <a:off x="0" y="3428293"/>
              <a:ext cx="2974909" cy="2386930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8" name="Freeform 18"/>
            <p:cNvSpPr>
              <a:spLocks/>
            </p:cNvSpPr>
            <p:nvPr/>
          </p:nvSpPr>
          <p:spPr bwMode="auto">
            <a:xfrm>
              <a:off x="7821001" y="4107443"/>
              <a:ext cx="1322999" cy="2750557"/>
            </a:xfrm>
            <a:custGeom>
              <a:avLst/>
              <a:gdLst>
                <a:gd name="T0" fmla="*/ 0 w 7917"/>
                <a:gd name="T1" fmla="*/ 3909 h 15549"/>
                <a:gd name="T2" fmla="*/ 0 w 7917"/>
                <a:gd name="T3" fmla="*/ 15549 h 15549"/>
                <a:gd name="T4" fmla="*/ 7917 w 7917"/>
                <a:gd name="T5" fmla="*/ 15549 h 15549"/>
                <a:gd name="T6" fmla="*/ 7917 w 7917"/>
                <a:gd name="T7" fmla="*/ 3909 h 15549"/>
                <a:gd name="T8" fmla="*/ 7917 w 7917"/>
                <a:gd name="T9" fmla="*/ 0 h 15549"/>
                <a:gd name="T10" fmla="*/ 0 w 7917"/>
                <a:gd name="T11" fmla="*/ 0 h 15549"/>
                <a:gd name="T12" fmla="*/ 0 w 7917"/>
                <a:gd name="T13" fmla="*/ 3909 h 15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17" h="15549">
                  <a:moveTo>
                    <a:pt x="0" y="3909"/>
                  </a:moveTo>
                  <a:lnTo>
                    <a:pt x="0" y="15549"/>
                  </a:lnTo>
                  <a:lnTo>
                    <a:pt x="7917" y="15549"/>
                  </a:lnTo>
                  <a:lnTo>
                    <a:pt x="7917" y="3909"/>
                  </a:lnTo>
                  <a:lnTo>
                    <a:pt x="7917" y="0"/>
                  </a:lnTo>
                  <a:lnTo>
                    <a:pt x="0" y="0"/>
                  </a:lnTo>
                  <a:lnTo>
                    <a:pt x="0" y="3909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49" name="Freeform 19"/>
            <p:cNvSpPr>
              <a:spLocks/>
            </p:cNvSpPr>
            <p:nvPr/>
          </p:nvSpPr>
          <p:spPr bwMode="auto">
            <a:xfrm>
              <a:off x="5681073" y="2058674"/>
              <a:ext cx="405122" cy="1369619"/>
            </a:xfrm>
            <a:custGeom>
              <a:avLst/>
              <a:gdLst>
                <a:gd name="T0" fmla="*/ 0 w 2424"/>
                <a:gd name="T1" fmla="*/ 7750 h 7750"/>
                <a:gd name="T2" fmla="*/ 0 w 2424"/>
                <a:gd name="T3" fmla="*/ 0 h 7750"/>
                <a:gd name="T4" fmla="*/ 2 w 2424"/>
                <a:gd name="T5" fmla="*/ 0 h 7750"/>
                <a:gd name="T6" fmla="*/ 2424 w 2424"/>
                <a:gd name="T7" fmla="*/ 1940 h 7750"/>
                <a:gd name="T8" fmla="*/ 2424 w 2424"/>
                <a:gd name="T9" fmla="*/ 7750 h 7750"/>
                <a:gd name="T10" fmla="*/ 0 w 2424"/>
                <a:gd name="T11" fmla="*/ 7750 h 7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4" h="7750">
                  <a:moveTo>
                    <a:pt x="0" y="775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424" y="1940"/>
                  </a:lnTo>
                  <a:lnTo>
                    <a:pt x="2424" y="7750"/>
                  </a:lnTo>
                  <a:lnTo>
                    <a:pt x="0" y="77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0" name="Rectangle 20"/>
            <p:cNvSpPr>
              <a:spLocks noChangeArrowheads="1"/>
            </p:cNvSpPr>
            <p:nvPr/>
          </p:nvSpPr>
          <p:spPr bwMode="auto">
            <a:xfrm>
              <a:off x="6086195" y="2401078"/>
              <a:ext cx="1334364" cy="1027214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1" name="Freeform 21"/>
            <p:cNvSpPr>
              <a:spLocks/>
            </p:cNvSpPr>
            <p:nvPr userDrawn="1"/>
          </p:nvSpPr>
          <p:spPr bwMode="auto">
            <a:xfrm>
              <a:off x="5681073" y="0"/>
              <a:ext cx="405122" cy="2401078"/>
            </a:xfrm>
            <a:custGeom>
              <a:avLst/>
              <a:gdLst>
                <a:gd name="T0" fmla="*/ 2424 w 2424"/>
                <a:gd name="T1" fmla="*/ 13578 h 13578"/>
                <a:gd name="T2" fmla="*/ 2 w 2424"/>
                <a:gd name="T3" fmla="*/ 11638 h 13578"/>
                <a:gd name="T4" fmla="*/ 0 w 2424"/>
                <a:gd name="T5" fmla="*/ 11638 h 13578"/>
                <a:gd name="T6" fmla="*/ 0 w 2424"/>
                <a:gd name="T7" fmla="*/ 0 h 13578"/>
                <a:gd name="T8" fmla="*/ 2 w 2424"/>
                <a:gd name="T9" fmla="*/ 0 h 13578"/>
                <a:gd name="T10" fmla="*/ 2424 w 2424"/>
                <a:gd name="T11" fmla="*/ 0 h 13578"/>
                <a:gd name="T12" fmla="*/ 2424 w 2424"/>
                <a:gd name="T13" fmla="*/ 5774 h 13578"/>
                <a:gd name="T14" fmla="*/ 2424 w 2424"/>
                <a:gd name="T15" fmla="*/ 13578 h 13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24" h="13578">
                  <a:moveTo>
                    <a:pt x="2424" y="13578"/>
                  </a:moveTo>
                  <a:lnTo>
                    <a:pt x="2" y="11638"/>
                  </a:lnTo>
                  <a:lnTo>
                    <a:pt x="0" y="11638"/>
                  </a:lnTo>
                  <a:lnTo>
                    <a:pt x="0" y="0"/>
                  </a:lnTo>
                  <a:lnTo>
                    <a:pt x="2" y="0"/>
                  </a:lnTo>
                  <a:lnTo>
                    <a:pt x="2424" y="0"/>
                  </a:lnTo>
                  <a:lnTo>
                    <a:pt x="2424" y="5774"/>
                  </a:lnTo>
                  <a:lnTo>
                    <a:pt x="2424" y="13578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2" name="Freeform 22"/>
            <p:cNvSpPr>
              <a:spLocks/>
            </p:cNvSpPr>
            <p:nvPr/>
          </p:nvSpPr>
          <p:spPr bwMode="auto">
            <a:xfrm>
              <a:off x="6086195" y="0"/>
              <a:ext cx="1334364" cy="2401078"/>
            </a:xfrm>
            <a:custGeom>
              <a:avLst/>
              <a:gdLst>
                <a:gd name="T0" fmla="*/ 7982 w 7982"/>
                <a:gd name="T1" fmla="*/ 13578 h 13578"/>
                <a:gd name="T2" fmla="*/ 0 w 7982"/>
                <a:gd name="T3" fmla="*/ 13578 h 13578"/>
                <a:gd name="T4" fmla="*/ 0 w 7982"/>
                <a:gd name="T5" fmla="*/ 5774 h 13578"/>
                <a:gd name="T6" fmla="*/ 0 w 7982"/>
                <a:gd name="T7" fmla="*/ 0 h 13578"/>
                <a:gd name="T8" fmla="*/ 7982 w 7982"/>
                <a:gd name="T9" fmla="*/ 0 h 13578"/>
                <a:gd name="T10" fmla="*/ 7982 w 7982"/>
                <a:gd name="T11" fmla="*/ 5774 h 13578"/>
                <a:gd name="T12" fmla="*/ 7982 w 7982"/>
                <a:gd name="T13" fmla="*/ 13578 h 13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82" h="13578">
                  <a:moveTo>
                    <a:pt x="7982" y="13578"/>
                  </a:moveTo>
                  <a:lnTo>
                    <a:pt x="0" y="13578"/>
                  </a:lnTo>
                  <a:lnTo>
                    <a:pt x="0" y="5774"/>
                  </a:lnTo>
                  <a:lnTo>
                    <a:pt x="0" y="0"/>
                  </a:lnTo>
                  <a:lnTo>
                    <a:pt x="7982" y="0"/>
                  </a:lnTo>
                  <a:lnTo>
                    <a:pt x="7982" y="5774"/>
                  </a:lnTo>
                  <a:lnTo>
                    <a:pt x="7982" y="13578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3" name="Freeform 23"/>
            <p:cNvSpPr>
              <a:spLocks/>
            </p:cNvSpPr>
            <p:nvPr/>
          </p:nvSpPr>
          <p:spPr bwMode="auto">
            <a:xfrm>
              <a:off x="7420559" y="2401078"/>
              <a:ext cx="400443" cy="1027214"/>
            </a:xfrm>
            <a:custGeom>
              <a:avLst/>
              <a:gdLst>
                <a:gd name="T0" fmla="*/ 0 w 2397"/>
                <a:gd name="T1" fmla="*/ 0 h 5810"/>
                <a:gd name="T2" fmla="*/ 1 w 2397"/>
                <a:gd name="T3" fmla="*/ 0 h 5810"/>
                <a:gd name="T4" fmla="*/ 2397 w 2397"/>
                <a:gd name="T5" fmla="*/ 1970 h 5810"/>
                <a:gd name="T6" fmla="*/ 2397 w 2397"/>
                <a:gd name="T7" fmla="*/ 5810 h 5810"/>
                <a:gd name="T8" fmla="*/ 0 w 2397"/>
                <a:gd name="T9" fmla="*/ 5810 h 5810"/>
                <a:gd name="T10" fmla="*/ 0 w 2397"/>
                <a:gd name="T11" fmla="*/ 0 h 5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7" h="5810">
                  <a:moveTo>
                    <a:pt x="0" y="0"/>
                  </a:moveTo>
                  <a:lnTo>
                    <a:pt x="1" y="0"/>
                  </a:lnTo>
                  <a:lnTo>
                    <a:pt x="2397" y="1970"/>
                  </a:lnTo>
                  <a:lnTo>
                    <a:pt x="2397" y="5810"/>
                  </a:lnTo>
                  <a:lnTo>
                    <a:pt x="0" y="5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4" name="Freeform 24"/>
            <p:cNvSpPr>
              <a:spLocks/>
            </p:cNvSpPr>
            <p:nvPr userDrawn="1"/>
          </p:nvSpPr>
          <p:spPr bwMode="auto">
            <a:xfrm>
              <a:off x="7420559" y="0"/>
              <a:ext cx="400443" cy="2750557"/>
            </a:xfrm>
            <a:custGeom>
              <a:avLst/>
              <a:gdLst>
                <a:gd name="T0" fmla="*/ 2397 w 2397"/>
                <a:gd name="T1" fmla="*/ 15548 h 15548"/>
                <a:gd name="T2" fmla="*/ 1 w 2397"/>
                <a:gd name="T3" fmla="*/ 13578 h 15548"/>
                <a:gd name="T4" fmla="*/ 0 w 2397"/>
                <a:gd name="T5" fmla="*/ 13578 h 15548"/>
                <a:gd name="T6" fmla="*/ 0 w 2397"/>
                <a:gd name="T7" fmla="*/ 5774 h 15548"/>
                <a:gd name="T8" fmla="*/ 0 w 2397"/>
                <a:gd name="T9" fmla="*/ 0 h 15548"/>
                <a:gd name="T10" fmla="*/ 2397 w 2397"/>
                <a:gd name="T11" fmla="*/ 0 h 15548"/>
                <a:gd name="T12" fmla="*/ 2397 w 2397"/>
                <a:gd name="T13" fmla="*/ 11638 h 15548"/>
                <a:gd name="T14" fmla="*/ 2397 w 2397"/>
                <a:gd name="T15" fmla="*/ 15548 h 15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97" h="15548">
                  <a:moveTo>
                    <a:pt x="2397" y="15548"/>
                  </a:moveTo>
                  <a:lnTo>
                    <a:pt x="1" y="13578"/>
                  </a:lnTo>
                  <a:lnTo>
                    <a:pt x="0" y="13578"/>
                  </a:lnTo>
                  <a:lnTo>
                    <a:pt x="0" y="5774"/>
                  </a:lnTo>
                  <a:lnTo>
                    <a:pt x="0" y="0"/>
                  </a:lnTo>
                  <a:lnTo>
                    <a:pt x="2397" y="0"/>
                  </a:lnTo>
                  <a:lnTo>
                    <a:pt x="2397" y="11638"/>
                  </a:lnTo>
                  <a:lnTo>
                    <a:pt x="2397" y="15548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5" name="Rectangle 25"/>
            <p:cNvSpPr>
              <a:spLocks noChangeArrowheads="1"/>
            </p:cNvSpPr>
            <p:nvPr/>
          </p:nvSpPr>
          <p:spPr bwMode="auto">
            <a:xfrm>
              <a:off x="7821001" y="2750557"/>
              <a:ext cx="1322999" cy="677735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6" name="Freeform 26"/>
            <p:cNvSpPr>
              <a:spLocks/>
            </p:cNvSpPr>
            <p:nvPr/>
          </p:nvSpPr>
          <p:spPr bwMode="auto">
            <a:xfrm>
              <a:off x="3379362" y="2058674"/>
              <a:ext cx="2301710" cy="1369619"/>
            </a:xfrm>
            <a:custGeom>
              <a:avLst/>
              <a:gdLst>
                <a:gd name="T0" fmla="*/ 0 w 13770"/>
                <a:gd name="T1" fmla="*/ 7750 h 7750"/>
                <a:gd name="T2" fmla="*/ 0 w 13770"/>
                <a:gd name="T3" fmla="*/ 33 h 7750"/>
                <a:gd name="T4" fmla="*/ 0 w 13770"/>
                <a:gd name="T5" fmla="*/ 0 h 7750"/>
                <a:gd name="T6" fmla="*/ 13770 w 13770"/>
                <a:gd name="T7" fmla="*/ 0 h 7750"/>
                <a:gd name="T8" fmla="*/ 13770 w 13770"/>
                <a:gd name="T9" fmla="*/ 7750 h 7750"/>
                <a:gd name="T10" fmla="*/ 0 w 13770"/>
                <a:gd name="T11" fmla="*/ 7750 h 7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50">
                  <a:moveTo>
                    <a:pt x="0" y="775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13770" y="0"/>
                  </a:lnTo>
                  <a:lnTo>
                    <a:pt x="13770" y="7750"/>
                  </a:lnTo>
                  <a:lnTo>
                    <a:pt x="0" y="7750"/>
                  </a:lnTo>
                  <a:close/>
                </a:path>
              </a:pathLst>
            </a:cu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7" name="Freeform 27"/>
            <p:cNvSpPr>
              <a:spLocks/>
            </p:cNvSpPr>
            <p:nvPr/>
          </p:nvSpPr>
          <p:spPr bwMode="auto">
            <a:xfrm>
              <a:off x="3379362" y="0"/>
              <a:ext cx="2301710" cy="2058674"/>
            </a:xfrm>
            <a:custGeom>
              <a:avLst/>
              <a:gdLst>
                <a:gd name="T0" fmla="*/ 0 w 13770"/>
                <a:gd name="T1" fmla="*/ 11638 h 11638"/>
                <a:gd name="T2" fmla="*/ 0 w 13770"/>
                <a:gd name="T3" fmla="*/ 7824 h 11638"/>
                <a:gd name="T4" fmla="*/ 0 w 13770"/>
                <a:gd name="T5" fmla="*/ 5897 h 11638"/>
                <a:gd name="T6" fmla="*/ 0 w 13770"/>
                <a:gd name="T7" fmla="*/ 0 h 11638"/>
                <a:gd name="T8" fmla="*/ 13770 w 13770"/>
                <a:gd name="T9" fmla="*/ 0 h 11638"/>
                <a:gd name="T10" fmla="*/ 13770 w 13770"/>
                <a:gd name="T11" fmla="*/ 11638 h 11638"/>
                <a:gd name="T12" fmla="*/ 0 w 13770"/>
                <a:gd name="T13" fmla="*/ 11638 h 11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70" h="11638">
                  <a:moveTo>
                    <a:pt x="0" y="11638"/>
                  </a:moveTo>
                  <a:lnTo>
                    <a:pt x="0" y="7824"/>
                  </a:lnTo>
                  <a:lnTo>
                    <a:pt x="0" y="5897"/>
                  </a:lnTo>
                  <a:lnTo>
                    <a:pt x="0" y="0"/>
                  </a:lnTo>
                  <a:lnTo>
                    <a:pt x="13770" y="0"/>
                  </a:lnTo>
                  <a:lnTo>
                    <a:pt x="13770" y="11638"/>
                  </a:lnTo>
                  <a:lnTo>
                    <a:pt x="0" y="11638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8" name="Freeform 28"/>
            <p:cNvSpPr>
              <a:spLocks/>
            </p:cNvSpPr>
            <p:nvPr userDrawn="1"/>
          </p:nvSpPr>
          <p:spPr bwMode="auto">
            <a:xfrm>
              <a:off x="0" y="0"/>
              <a:ext cx="2974909" cy="1042779"/>
            </a:xfrm>
            <a:custGeom>
              <a:avLst/>
              <a:gdLst>
                <a:gd name="T0" fmla="*/ 17799 w 17799"/>
                <a:gd name="T1" fmla="*/ 5897 h 5897"/>
                <a:gd name="T2" fmla="*/ 0 w 17799"/>
                <a:gd name="T3" fmla="*/ 5897 h 5897"/>
                <a:gd name="T4" fmla="*/ 0 w 17799"/>
                <a:gd name="T5" fmla="*/ 0 h 5897"/>
                <a:gd name="T6" fmla="*/ 17799 w 17799"/>
                <a:gd name="T7" fmla="*/ 0 h 5897"/>
                <a:gd name="T8" fmla="*/ 17799 w 17799"/>
                <a:gd name="T9" fmla="*/ 5884 h 5897"/>
                <a:gd name="T10" fmla="*/ 17799 w 17799"/>
                <a:gd name="T11" fmla="*/ 5897 h 5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99" h="5897">
                  <a:moveTo>
                    <a:pt x="17799" y="5897"/>
                  </a:moveTo>
                  <a:lnTo>
                    <a:pt x="0" y="5897"/>
                  </a:lnTo>
                  <a:lnTo>
                    <a:pt x="0" y="0"/>
                  </a:lnTo>
                  <a:lnTo>
                    <a:pt x="17799" y="0"/>
                  </a:lnTo>
                  <a:lnTo>
                    <a:pt x="17799" y="5884"/>
                  </a:lnTo>
                  <a:lnTo>
                    <a:pt x="17799" y="5897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59" name="Freeform 29"/>
            <p:cNvSpPr>
              <a:spLocks/>
            </p:cNvSpPr>
            <p:nvPr/>
          </p:nvSpPr>
          <p:spPr bwMode="auto">
            <a:xfrm>
              <a:off x="2974909" y="1042779"/>
              <a:ext cx="404454" cy="2385514"/>
            </a:xfrm>
            <a:custGeom>
              <a:avLst/>
              <a:gdLst>
                <a:gd name="T0" fmla="*/ 0 w 2423"/>
                <a:gd name="T1" fmla="*/ 13491 h 13491"/>
                <a:gd name="T2" fmla="*/ 0 w 2423"/>
                <a:gd name="T3" fmla="*/ 0 h 13491"/>
                <a:gd name="T4" fmla="*/ 1 w 2423"/>
                <a:gd name="T5" fmla="*/ 0 h 13491"/>
                <a:gd name="T6" fmla="*/ 2423 w 2423"/>
                <a:gd name="T7" fmla="*/ 5774 h 13491"/>
                <a:gd name="T8" fmla="*/ 2423 w 2423"/>
                <a:gd name="T9" fmla="*/ 13491 h 13491"/>
                <a:gd name="T10" fmla="*/ 0 w 2423"/>
                <a:gd name="T11" fmla="*/ 13491 h 13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3" h="13491">
                  <a:moveTo>
                    <a:pt x="0" y="1349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423" y="5774"/>
                  </a:lnTo>
                  <a:lnTo>
                    <a:pt x="2423" y="13491"/>
                  </a:lnTo>
                  <a:lnTo>
                    <a:pt x="0" y="1349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0" name="Freeform 30"/>
            <p:cNvSpPr>
              <a:spLocks/>
            </p:cNvSpPr>
            <p:nvPr userDrawn="1"/>
          </p:nvSpPr>
          <p:spPr bwMode="auto">
            <a:xfrm>
              <a:off x="2974909" y="0"/>
              <a:ext cx="404454" cy="2064333"/>
            </a:xfrm>
            <a:custGeom>
              <a:avLst/>
              <a:gdLst>
                <a:gd name="T0" fmla="*/ 2423 w 2423"/>
                <a:gd name="T1" fmla="*/ 7824 h 11671"/>
                <a:gd name="T2" fmla="*/ 2423 w 2423"/>
                <a:gd name="T3" fmla="*/ 11638 h 11671"/>
                <a:gd name="T4" fmla="*/ 2423 w 2423"/>
                <a:gd name="T5" fmla="*/ 11671 h 11671"/>
                <a:gd name="T6" fmla="*/ 1 w 2423"/>
                <a:gd name="T7" fmla="*/ 5897 h 11671"/>
                <a:gd name="T8" fmla="*/ 17 w 2423"/>
                <a:gd name="T9" fmla="*/ 5897 h 11671"/>
                <a:gd name="T10" fmla="*/ 1 w 2423"/>
                <a:gd name="T11" fmla="*/ 5884 h 11671"/>
                <a:gd name="T12" fmla="*/ 0 w 2423"/>
                <a:gd name="T13" fmla="*/ 5884 h 11671"/>
                <a:gd name="T14" fmla="*/ 0 w 2423"/>
                <a:gd name="T15" fmla="*/ 0 h 11671"/>
                <a:gd name="T16" fmla="*/ 1 w 2423"/>
                <a:gd name="T17" fmla="*/ 0 h 11671"/>
                <a:gd name="T18" fmla="*/ 2423 w 2423"/>
                <a:gd name="T19" fmla="*/ 0 h 11671"/>
                <a:gd name="T20" fmla="*/ 2423 w 2423"/>
                <a:gd name="T21" fmla="*/ 5897 h 11671"/>
                <a:gd name="T22" fmla="*/ 2423 w 2423"/>
                <a:gd name="T23" fmla="*/ 7824 h 1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3" h="11671">
                  <a:moveTo>
                    <a:pt x="2423" y="7824"/>
                  </a:moveTo>
                  <a:lnTo>
                    <a:pt x="2423" y="11638"/>
                  </a:lnTo>
                  <a:lnTo>
                    <a:pt x="2423" y="11671"/>
                  </a:lnTo>
                  <a:lnTo>
                    <a:pt x="1" y="5897"/>
                  </a:lnTo>
                  <a:lnTo>
                    <a:pt x="17" y="5897"/>
                  </a:lnTo>
                  <a:lnTo>
                    <a:pt x="1" y="5884"/>
                  </a:lnTo>
                  <a:lnTo>
                    <a:pt x="0" y="5884"/>
                  </a:lnTo>
                  <a:lnTo>
                    <a:pt x="0" y="0"/>
                  </a:lnTo>
                  <a:lnTo>
                    <a:pt x="1" y="0"/>
                  </a:lnTo>
                  <a:lnTo>
                    <a:pt x="2423" y="0"/>
                  </a:lnTo>
                  <a:lnTo>
                    <a:pt x="2423" y="5897"/>
                  </a:lnTo>
                  <a:lnTo>
                    <a:pt x="2423" y="7824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0" y="1042779"/>
              <a:ext cx="2974909" cy="2385514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2" name="Freeform 32"/>
            <p:cNvSpPr>
              <a:spLocks/>
            </p:cNvSpPr>
            <p:nvPr/>
          </p:nvSpPr>
          <p:spPr bwMode="auto">
            <a:xfrm>
              <a:off x="7821001" y="0"/>
              <a:ext cx="1322999" cy="2750557"/>
            </a:xfrm>
            <a:custGeom>
              <a:avLst/>
              <a:gdLst>
                <a:gd name="T0" fmla="*/ 0 w 7917"/>
                <a:gd name="T1" fmla="*/ 11638 h 15548"/>
                <a:gd name="T2" fmla="*/ 0 w 7917"/>
                <a:gd name="T3" fmla="*/ 0 h 15548"/>
                <a:gd name="T4" fmla="*/ 7917 w 7917"/>
                <a:gd name="T5" fmla="*/ 0 h 15548"/>
                <a:gd name="T6" fmla="*/ 7917 w 7917"/>
                <a:gd name="T7" fmla="*/ 11638 h 15548"/>
                <a:gd name="T8" fmla="*/ 7917 w 7917"/>
                <a:gd name="T9" fmla="*/ 15548 h 15548"/>
                <a:gd name="T10" fmla="*/ 0 w 7917"/>
                <a:gd name="T11" fmla="*/ 15548 h 15548"/>
                <a:gd name="T12" fmla="*/ 0 w 7917"/>
                <a:gd name="T13" fmla="*/ 11638 h 15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17" h="15548">
                  <a:moveTo>
                    <a:pt x="0" y="11638"/>
                  </a:moveTo>
                  <a:lnTo>
                    <a:pt x="0" y="0"/>
                  </a:lnTo>
                  <a:lnTo>
                    <a:pt x="7917" y="0"/>
                  </a:lnTo>
                  <a:lnTo>
                    <a:pt x="7917" y="11638"/>
                  </a:lnTo>
                  <a:lnTo>
                    <a:pt x="7917" y="15548"/>
                  </a:lnTo>
                  <a:lnTo>
                    <a:pt x="0" y="15548"/>
                  </a:lnTo>
                  <a:lnTo>
                    <a:pt x="0" y="11638"/>
                  </a:lnTo>
                  <a:close/>
                </a:path>
              </a:pathLst>
            </a:cu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39" y="3531201"/>
            <a:ext cx="3744416" cy="219004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39" y="1145687"/>
            <a:ext cx="3744416" cy="2177310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None/>
              <a:defRPr lang="en-US"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indent="0" algn="ctr"/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43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Blue/Turquoise/Yellow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/>
          <p:cNvGrpSpPr/>
          <p:nvPr userDrawn="1"/>
        </p:nvGrpSpPr>
        <p:grpSpPr>
          <a:xfrm>
            <a:off x="0" y="0"/>
            <a:ext cx="12192000" cy="6858000"/>
            <a:chOff x="-21347113" y="-7572375"/>
            <a:chExt cx="21347113" cy="7573963"/>
          </a:xfrm>
        </p:grpSpPr>
        <p:sp>
          <p:nvSpPr>
            <p:cNvPr id="34" name="Freeform 22"/>
            <p:cNvSpPr>
              <a:spLocks/>
            </p:cNvSpPr>
            <p:nvPr/>
          </p:nvSpPr>
          <p:spPr bwMode="auto">
            <a:xfrm>
              <a:off x="-9607550" y="-5054600"/>
              <a:ext cx="1123950" cy="2530475"/>
            </a:xfrm>
            <a:custGeom>
              <a:avLst/>
              <a:gdLst>
                <a:gd name="T0" fmla="*/ 2832 w 2832"/>
                <a:gd name="T1" fmla="*/ 10630 h 12751"/>
                <a:gd name="T2" fmla="*/ 2832 w 2832"/>
                <a:gd name="T3" fmla="*/ 2121 h 12751"/>
                <a:gd name="T4" fmla="*/ 3 w 2832"/>
                <a:gd name="T5" fmla="*/ 0 h 12751"/>
                <a:gd name="T6" fmla="*/ 0 w 2832"/>
                <a:gd name="T7" fmla="*/ 0 h 12751"/>
                <a:gd name="T8" fmla="*/ 0 w 2832"/>
                <a:gd name="T9" fmla="*/ 12751 h 12751"/>
                <a:gd name="T10" fmla="*/ 3 w 2832"/>
                <a:gd name="T11" fmla="*/ 12751 h 12751"/>
                <a:gd name="T12" fmla="*/ 2832 w 2832"/>
                <a:gd name="T13" fmla="*/ 10630 h 12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2" h="12751">
                  <a:moveTo>
                    <a:pt x="2832" y="10630"/>
                  </a:moveTo>
                  <a:lnTo>
                    <a:pt x="2832" y="2121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2751"/>
                  </a:lnTo>
                  <a:lnTo>
                    <a:pt x="3" y="12751"/>
                  </a:lnTo>
                  <a:lnTo>
                    <a:pt x="2832" y="106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5" name="Freeform 23"/>
            <p:cNvSpPr>
              <a:spLocks/>
            </p:cNvSpPr>
            <p:nvPr/>
          </p:nvSpPr>
          <p:spPr bwMode="auto">
            <a:xfrm>
              <a:off x="-9607550" y="-2946400"/>
              <a:ext cx="1123950" cy="2947988"/>
            </a:xfrm>
            <a:custGeom>
              <a:avLst/>
              <a:gdLst>
                <a:gd name="T0" fmla="*/ 2832 w 2832"/>
                <a:gd name="T1" fmla="*/ 0 h 14852"/>
                <a:gd name="T2" fmla="*/ 3 w 2832"/>
                <a:gd name="T3" fmla="*/ 2121 h 14852"/>
                <a:gd name="T4" fmla="*/ 0 w 2832"/>
                <a:gd name="T5" fmla="*/ 2121 h 14852"/>
                <a:gd name="T6" fmla="*/ 0 w 2832"/>
                <a:gd name="T7" fmla="*/ 14852 h 14852"/>
                <a:gd name="T8" fmla="*/ 3 w 2832"/>
                <a:gd name="T9" fmla="*/ 14852 h 14852"/>
                <a:gd name="T10" fmla="*/ 2832 w 2832"/>
                <a:gd name="T11" fmla="*/ 8536 h 14852"/>
                <a:gd name="T12" fmla="*/ 2832 w 2832"/>
                <a:gd name="T13" fmla="*/ 0 h 14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2" h="14852">
                  <a:moveTo>
                    <a:pt x="2832" y="0"/>
                  </a:moveTo>
                  <a:lnTo>
                    <a:pt x="3" y="2121"/>
                  </a:lnTo>
                  <a:lnTo>
                    <a:pt x="0" y="2121"/>
                  </a:lnTo>
                  <a:lnTo>
                    <a:pt x="0" y="14852"/>
                  </a:lnTo>
                  <a:lnTo>
                    <a:pt x="3" y="14852"/>
                  </a:lnTo>
                  <a:lnTo>
                    <a:pt x="2832" y="8536"/>
                  </a:lnTo>
                  <a:lnTo>
                    <a:pt x="2832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36" name="Rectangle 24"/>
            <p:cNvSpPr>
              <a:spLocks noChangeArrowheads="1"/>
            </p:cNvSpPr>
            <p:nvPr/>
          </p:nvSpPr>
          <p:spPr bwMode="auto">
            <a:xfrm>
              <a:off x="-8483600" y="-1252537"/>
              <a:ext cx="3700463" cy="1254125"/>
            </a:xfrm>
            <a:prstGeom prst="rect">
              <a:avLst/>
            </a:pr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3" name="Rectangle 25"/>
            <p:cNvSpPr>
              <a:spLocks noChangeArrowheads="1"/>
            </p:cNvSpPr>
            <p:nvPr/>
          </p:nvSpPr>
          <p:spPr bwMode="auto">
            <a:xfrm>
              <a:off x="-8483600" y="-4633912"/>
              <a:ext cx="3700463" cy="1687513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4" name="Freeform 26"/>
            <p:cNvSpPr>
              <a:spLocks/>
            </p:cNvSpPr>
            <p:nvPr/>
          </p:nvSpPr>
          <p:spPr bwMode="auto">
            <a:xfrm>
              <a:off x="-9607550" y="-1252537"/>
              <a:ext cx="1123950" cy="1254125"/>
            </a:xfrm>
            <a:custGeom>
              <a:avLst/>
              <a:gdLst>
                <a:gd name="T0" fmla="*/ 0 w 2829"/>
                <a:gd name="T1" fmla="*/ 6316 h 6316"/>
                <a:gd name="T2" fmla="*/ 2829 w 2829"/>
                <a:gd name="T3" fmla="*/ 6316 h 6316"/>
                <a:gd name="T4" fmla="*/ 2829 w 2829"/>
                <a:gd name="T5" fmla="*/ 0 h 6316"/>
                <a:gd name="T6" fmla="*/ 0 w 2829"/>
                <a:gd name="T7" fmla="*/ 6316 h 6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29" h="6316">
                  <a:moveTo>
                    <a:pt x="0" y="6316"/>
                  </a:moveTo>
                  <a:lnTo>
                    <a:pt x="2829" y="6316"/>
                  </a:lnTo>
                  <a:lnTo>
                    <a:pt x="2829" y="0"/>
                  </a:lnTo>
                  <a:lnTo>
                    <a:pt x="0" y="6316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5" name="Rectangle 27"/>
            <p:cNvSpPr>
              <a:spLocks noChangeArrowheads="1"/>
            </p:cNvSpPr>
            <p:nvPr/>
          </p:nvSpPr>
          <p:spPr bwMode="auto">
            <a:xfrm>
              <a:off x="-8483600" y="-6318250"/>
              <a:ext cx="3700463" cy="1684338"/>
            </a:xfrm>
            <a:prstGeom prst="rect">
              <a:avLst/>
            </a:pr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6" name="Rectangle 28"/>
            <p:cNvSpPr>
              <a:spLocks noChangeArrowheads="1"/>
            </p:cNvSpPr>
            <p:nvPr/>
          </p:nvSpPr>
          <p:spPr bwMode="auto">
            <a:xfrm>
              <a:off x="-8483600" y="-2946400"/>
              <a:ext cx="3700463" cy="1693863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7" name="Freeform 29"/>
            <p:cNvSpPr>
              <a:spLocks/>
            </p:cNvSpPr>
            <p:nvPr/>
          </p:nvSpPr>
          <p:spPr bwMode="auto">
            <a:xfrm>
              <a:off x="-4783138" y="-3373437"/>
              <a:ext cx="1111250" cy="2120900"/>
            </a:xfrm>
            <a:custGeom>
              <a:avLst/>
              <a:gdLst>
                <a:gd name="T0" fmla="*/ 0 w 2801"/>
                <a:gd name="T1" fmla="*/ 2155 h 10691"/>
                <a:gd name="T2" fmla="*/ 0 w 2801"/>
                <a:gd name="T3" fmla="*/ 10691 h 10691"/>
                <a:gd name="T4" fmla="*/ 2 w 2801"/>
                <a:gd name="T5" fmla="*/ 10691 h 10691"/>
                <a:gd name="T6" fmla="*/ 2801 w 2801"/>
                <a:gd name="T7" fmla="*/ 4276 h 10691"/>
                <a:gd name="T8" fmla="*/ 2801 w 2801"/>
                <a:gd name="T9" fmla="*/ 0 h 10691"/>
                <a:gd name="T10" fmla="*/ 2 w 2801"/>
                <a:gd name="T11" fmla="*/ 2155 h 10691"/>
                <a:gd name="T12" fmla="*/ 0 w 2801"/>
                <a:gd name="T13" fmla="*/ 2155 h 10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1" h="10691">
                  <a:moveTo>
                    <a:pt x="0" y="2155"/>
                  </a:moveTo>
                  <a:lnTo>
                    <a:pt x="0" y="10691"/>
                  </a:lnTo>
                  <a:lnTo>
                    <a:pt x="2" y="10691"/>
                  </a:lnTo>
                  <a:lnTo>
                    <a:pt x="2801" y="4276"/>
                  </a:lnTo>
                  <a:lnTo>
                    <a:pt x="2801" y="0"/>
                  </a:lnTo>
                  <a:lnTo>
                    <a:pt x="2" y="2155"/>
                  </a:lnTo>
                  <a:lnTo>
                    <a:pt x="0" y="2155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8" name="Freeform 30"/>
            <p:cNvSpPr>
              <a:spLocks/>
            </p:cNvSpPr>
            <p:nvPr/>
          </p:nvSpPr>
          <p:spPr bwMode="auto">
            <a:xfrm>
              <a:off x="-4783138" y="-6318250"/>
              <a:ext cx="1111250" cy="2111375"/>
            </a:xfrm>
            <a:custGeom>
              <a:avLst/>
              <a:gdLst>
                <a:gd name="T0" fmla="*/ 2 w 2801"/>
                <a:gd name="T1" fmla="*/ 8488 h 10643"/>
                <a:gd name="T2" fmla="*/ 2801 w 2801"/>
                <a:gd name="T3" fmla="*/ 10643 h 10643"/>
                <a:gd name="T4" fmla="*/ 2801 w 2801"/>
                <a:gd name="T5" fmla="*/ 6415 h 10643"/>
                <a:gd name="T6" fmla="*/ 2 w 2801"/>
                <a:gd name="T7" fmla="*/ 0 h 10643"/>
                <a:gd name="T8" fmla="*/ 0 w 2801"/>
                <a:gd name="T9" fmla="*/ 0 h 10643"/>
                <a:gd name="T10" fmla="*/ 0 w 2801"/>
                <a:gd name="T11" fmla="*/ 8488 h 10643"/>
                <a:gd name="T12" fmla="*/ 2 w 2801"/>
                <a:gd name="T13" fmla="*/ 8488 h 10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1" h="10643">
                  <a:moveTo>
                    <a:pt x="2" y="8488"/>
                  </a:moveTo>
                  <a:lnTo>
                    <a:pt x="2801" y="10643"/>
                  </a:lnTo>
                  <a:lnTo>
                    <a:pt x="2801" y="6415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8488"/>
                  </a:lnTo>
                  <a:lnTo>
                    <a:pt x="2" y="8488"/>
                  </a:lnTo>
                  <a:close/>
                </a:path>
              </a:pathLst>
            </a:custGeom>
            <a:solidFill>
              <a:srgbClr val="0083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69" name="Freeform 31"/>
            <p:cNvSpPr>
              <a:spLocks/>
            </p:cNvSpPr>
            <p:nvPr/>
          </p:nvSpPr>
          <p:spPr bwMode="auto">
            <a:xfrm>
              <a:off x="-4783138" y="-4633912"/>
              <a:ext cx="1111250" cy="1687513"/>
            </a:xfrm>
            <a:custGeom>
              <a:avLst/>
              <a:gdLst>
                <a:gd name="T0" fmla="*/ 0 w 2801"/>
                <a:gd name="T1" fmla="*/ 0 h 8509"/>
                <a:gd name="T2" fmla="*/ 0 w 2801"/>
                <a:gd name="T3" fmla="*/ 8509 h 8509"/>
                <a:gd name="T4" fmla="*/ 2 w 2801"/>
                <a:gd name="T5" fmla="*/ 8509 h 8509"/>
                <a:gd name="T6" fmla="*/ 2801 w 2801"/>
                <a:gd name="T7" fmla="*/ 6354 h 8509"/>
                <a:gd name="T8" fmla="*/ 2801 w 2801"/>
                <a:gd name="T9" fmla="*/ 2155 h 8509"/>
                <a:gd name="T10" fmla="*/ 2 w 2801"/>
                <a:gd name="T11" fmla="*/ 0 h 8509"/>
                <a:gd name="T12" fmla="*/ 0 w 2801"/>
                <a:gd name="T13" fmla="*/ 0 h 8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1" h="8509">
                  <a:moveTo>
                    <a:pt x="0" y="0"/>
                  </a:moveTo>
                  <a:lnTo>
                    <a:pt x="0" y="8509"/>
                  </a:lnTo>
                  <a:lnTo>
                    <a:pt x="2" y="8509"/>
                  </a:lnTo>
                  <a:lnTo>
                    <a:pt x="2801" y="6354"/>
                  </a:lnTo>
                  <a:lnTo>
                    <a:pt x="2801" y="2155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0" name="Freeform 32"/>
            <p:cNvSpPr>
              <a:spLocks/>
            </p:cNvSpPr>
            <p:nvPr/>
          </p:nvSpPr>
          <p:spPr bwMode="auto">
            <a:xfrm>
              <a:off x="-4783138" y="-2524125"/>
              <a:ext cx="1111250" cy="2525713"/>
            </a:xfrm>
            <a:custGeom>
              <a:avLst/>
              <a:gdLst>
                <a:gd name="T0" fmla="*/ 2 w 2801"/>
                <a:gd name="T1" fmla="*/ 6415 h 12731"/>
                <a:gd name="T2" fmla="*/ 0 w 2801"/>
                <a:gd name="T3" fmla="*/ 6415 h 12731"/>
                <a:gd name="T4" fmla="*/ 0 w 2801"/>
                <a:gd name="T5" fmla="*/ 12731 h 12731"/>
                <a:gd name="T6" fmla="*/ 2801 w 2801"/>
                <a:gd name="T7" fmla="*/ 12731 h 12731"/>
                <a:gd name="T8" fmla="*/ 2801 w 2801"/>
                <a:gd name="T9" fmla="*/ 0 h 12731"/>
                <a:gd name="T10" fmla="*/ 2 w 2801"/>
                <a:gd name="T11" fmla="*/ 6415 h 12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01" h="12731">
                  <a:moveTo>
                    <a:pt x="2" y="6415"/>
                  </a:moveTo>
                  <a:lnTo>
                    <a:pt x="0" y="6415"/>
                  </a:lnTo>
                  <a:lnTo>
                    <a:pt x="0" y="12731"/>
                  </a:lnTo>
                  <a:lnTo>
                    <a:pt x="2801" y="12731"/>
                  </a:lnTo>
                  <a:lnTo>
                    <a:pt x="2801" y="0"/>
                  </a:lnTo>
                  <a:lnTo>
                    <a:pt x="2" y="6415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1" name="Rectangle 33"/>
            <p:cNvSpPr>
              <a:spLocks noChangeArrowheads="1"/>
            </p:cNvSpPr>
            <p:nvPr/>
          </p:nvSpPr>
          <p:spPr bwMode="auto">
            <a:xfrm>
              <a:off x="-3671888" y="-4206875"/>
              <a:ext cx="3671888" cy="833439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2" name="Rectangle 34"/>
            <p:cNvSpPr>
              <a:spLocks noChangeArrowheads="1"/>
            </p:cNvSpPr>
            <p:nvPr/>
          </p:nvSpPr>
          <p:spPr bwMode="auto">
            <a:xfrm>
              <a:off x="-21347113" y="-7572375"/>
              <a:ext cx="11739563" cy="2517775"/>
            </a:xfrm>
            <a:prstGeom prst="rect">
              <a:avLst/>
            </a:pr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3" name="Freeform 35"/>
            <p:cNvSpPr>
              <a:spLocks/>
            </p:cNvSpPr>
            <p:nvPr/>
          </p:nvSpPr>
          <p:spPr bwMode="auto">
            <a:xfrm>
              <a:off x="-9607550" y="-7572375"/>
              <a:ext cx="1123950" cy="2938463"/>
            </a:xfrm>
            <a:custGeom>
              <a:avLst/>
              <a:gdLst>
                <a:gd name="T0" fmla="*/ 3 w 2832"/>
                <a:gd name="T1" fmla="*/ 12683 h 14804"/>
                <a:gd name="T2" fmla="*/ 2832 w 2832"/>
                <a:gd name="T3" fmla="*/ 14804 h 14804"/>
                <a:gd name="T4" fmla="*/ 2832 w 2832"/>
                <a:gd name="T5" fmla="*/ 6316 h 14804"/>
                <a:gd name="T6" fmla="*/ 3 w 2832"/>
                <a:gd name="T7" fmla="*/ 0 h 14804"/>
                <a:gd name="T8" fmla="*/ 0 w 2832"/>
                <a:gd name="T9" fmla="*/ 0 h 14804"/>
                <a:gd name="T10" fmla="*/ 0 w 2832"/>
                <a:gd name="T11" fmla="*/ 12683 h 14804"/>
                <a:gd name="T12" fmla="*/ 3 w 2832"/>
                <a:gd name="T13" fmla="*/ 12683 h 14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2" h="14804">
                  <a:moveTo>
                    <a:pt x="3" y="12683"/>
                  </a:moveTo>
                  <a:lnTo>
                    <a:pt x="2832" y="14804"/>
                  </a:lnTo>
                  <a:lnTo>
                    <a:pt x="2832" y="631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2683"/>
                  </a:lnTo>
                  <a:lnTo>
                    <a:pt x="3" y="12683"/>
                  </a:lnTo>
                  <a:close/>
                </a:path>
              </a:pathLst>
            </a:custGeom>
            <a:solidFill>
              <a:srgbClr val="0083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4" name="Freeform 36"/>
            <p:cNvSpPr>
              <a:spLocks/>
            </p:cNvSpPr>
            <p:nvPr/>
          </p:nvSpPr>
          <p:spPr bwMode="auto">
            <a:xfrm>
              <a:off x="-9607550" y="-7572375"/>
              <a:ext cx="1123950" cy="1254125"/>
            </a:xfrm>
            <a:custGeom>
              <a:avLst/>
              <a:gdLst>
                <a:gd name="T0" fmla="*/ 2829 w 2829"/>
                <a:gd name="T1" fmla="*/ 0 h 6316"/>
                <a:gd name="T2" fmla="*/ 0 w 2829"/>
                <a:gd name="T3" fmla="*/ 0 h 6316"/>
                <a:gd name="T4" fmla="*/ 2829 w 2829"/>
                <a:gd name="T5" fmla="*/ 6316 h 6316"/>
                <a:gd name="T6" fmla="*/ 2829 w 2829"/>
                <a:gd name="T7" fmla="*/ 0 h 6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29" h="6316">
                  <a:moveTo>
                    <a:pt x="2829" y="0"/>
                  </a:moveTo>
                  <a:lnTo>
                    <a:pt x="0" y="0"/>
                  </a:lnTo>
                  <a:lnTo>
                    <a:pt x="2829" y="6316"/>
                  </a:lnTo>
                  <a:lnTo>
                    <a:pt x="2829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5" name="Rectangle 37"/>
            <p:cNvSpPr>
              <a:spLocks noChangeArrowheads="1"/>
            </p:cNvSpPr>
            <p:nvPr/>
          </p:nvSpPr>
          <p:spPr bwMode="auto">
            <a:xfrm>
              <a:off x="-21347113" y="-5054600"/>
              <a:ext cx="11739563" cy="2530475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6" name="Rectangle 38"/>
            <p:cNvSpPr>
              <a:spLocks noChangeArrowheads="1"/>
            </p:cNvSpPr>
            <p:nvPr/>
          </p:nvSpPr>
          <p:spPr bwMode="auto">
            <a:xfrm>
              <a:off x="-3671888" y="-2524125"/>
              <a:ext cx="3671888" cy="2525713"/>
            </a:xfrm>
            <a:prstGeom prst="rect">
              <a:avLst/>
            </a:pr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7" name="Rectangle 39"/>
            <p:cNvSpPr>
              <a:spLocks noChangeArrowheads="1"/>
            </p:cNvSpPr>
            <p:nvPr/>
          </p:nvSpPr>
          <p:spPr bwMode="auto">
            <a:xfrm>
              <a:off x="-21347113" y="-2524125"/>
              <a:ext cx="11739563" cy="2525713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8" name="Rectangle 40"/>
            <p:cNvSpPr>
              <a:spLocks noChangeArrowheads="1"/>
            </p:cNvSpPr>
            <p:nvPr/>
          </p:nvSpPr>
          <p:spPr bwMode="auto">
            <a:xfrm>
              <a:off x="-3671888" y="-3373438"/>
              <a:ext cx="3671888" cy="849313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79" name="Rectangle 41"/>
            <p:cNvSpPr>
              <a:spLocks noChangeArrowheads="1"/>
            </p:cNvSpPr>
            <p:nvPr/>
          </p:nvSpPr>
          <p:spPr bwMode="auto">
            <a:xfrm>
              <a:off x="-3671888" y="-5045075"/>
              <a:ext cx="3671888" cy="838200"/>
            </a:xfrm>
            <a:prstGeom prst="rect">
              <a:avLst/>
            </a:pr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80" name="Rectangle 42"/>
            <p:cNvSpPr>
              <a:spLocks noChangeArrowheads="1"/>
            </p:cNvSpPr>
            <p:nvPr/>
          </p:nvSpPr>
          <p:spPr bwMode="auto">
            <a:xfrm>
              <a:off x="-3671888" y="-7572375"/>
              <a:ext cx="3671888" cy="2527300"/>
            </a:xfrm>
            <a:prstGeom prst="rect">
              <a:avLst/>
            </a:pr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81" name="Rectangle 43"/>
            <p:cNvSpPr>
              <a:spLocks noChangeArrowheads="1"/>
            </p:cNvSpPr>
            <p:nvPr/>
          </p:nvSpPr>
          <p:spPr bwMode="auto">
            <a:xfrm>
              <a:off x="-8483600" y="-7572375"/>
              <a:ext cx="3700463" cy="1254125"/>
            </a:xfrm>
            <a:prstGeom prst="rect">
              <a:avLst/>
            </a:pr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82" name="Freeform 44"/>
            <p:cNvSpPr>
              <a:spLocks/>
            </p:cNvSpPr>
            <p:nvPr/>
          </p:nvSpPr>
          <p:spPr bwMode="auto">
            <a:xfrm>
              <a:off x="-4783138" y="-7572375"/>
              <a:ext cx="1111250" cy="2527300"/>
            </a:xfrm>
            <a:custGeom>
              <a:avLst/>
              <a:gdLst>
                <a:gd name="T0" fmla="*/ 2 w 2801"/>
                <a:gd name="T1" fmla="*/ 6316 h 12731"/>
                <a:gd name="T2" fmla="*/ 2801 w 2801"/>
                <a:gd name="T3" fmla="*/ 12731 h 12731"/>
                <a:gd name="T4" fmla="*/ 2801 w 2801"/>
                <a:gd name="T5" fmla="*/ 0 h 12731"/>
                <a:gd name="T6" fmla="*/ 0 w 2801"/>
                <a:gd name="T7" fmla="*/ 0 h 12731"/>
                <a:gd name="T8" fmla="*/ 0 w 2801"/>
                <a:gd name="T9" fmla="*/ 6316 h 12731"/>
                <a:gd name="T10" fmla="*/ 2 w 2801"/>
                <a:gd name="T11" fmla="*/ 6316 h 12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01" h="12731">
                  <a:moveTo>
                    <a:pt x="2" y="6316"/>
                  </a:moveTo>
                  <a:lnTo>
                    <a:pt x="2801" y="12731"/>
                  </a:lnTo>
                  <a:lnTo>
                    <a:pt x="2801" y="0"/>
                  </a:lnTo>
                  <a:lnTo>
                    <a:pt x="0" y="0"/>
                  </a:lnTo>
                  <a:lnTo>
                    <a:pt x="0" y="6316"/>
                  </a:lnTo>
                  <a:lnTo>
                    <a:pt x="2" y="6316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39" y="4627404"/>
            <a:ext cx="6336704" cy="2041956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39" y="2318399"/>
            <a:ext cx="6336704" cy="217731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34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4234" y="1825625"/>
            <a:ext cx="8809567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544232" y="6356353"/>
            <a:ext cx="2743200" cy="365125"/>
          </a:xfrm>
        </p:spPr>
        <p:txBody>
          <a:bodyPr/>
          <a:lstStyle/>
          <a:p>
            <a:fld id="{0D562FD5-D131-4B03-8BFF-80F82A7A1BE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3"/>
            <a:ext cx="52578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" y="0"/>
            <a:ext cx="12191999" cy="1772816"/>
            <a:chOff x="1" y="0"/>
            <a:chExt cx="9143999" cy="1772816"/>
          </a:xfrm>
        </p:grpSpPr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487455" y="0"/>
              <a:ext cx="7656545" cy="1016160"/>
            </a:xfrm>
            <a:custGeom>
              <a:avLst/>
              <a:gdLst>
                <a:gd name="T0" fmla="*/ 0 w 13770"/>
                <a:gd name="T1" fmla="*/ 0 h 7748"/>
                <a:gd name="T2" fmla="*/ 0 w 13770"/>
                <a:gd name="T3" fmla="*/ 7715 h 7748"/>
                <a:gd name="T4" fmla="*/ 0 w 13770"/>
                <a:gd name="T5" fmla="*/ 7748 h 7748"/>
                <a:gd name="T6" fmla="*/ 13770 w 13770"/>
                <a:gd name="T7" fmla="*/ 7748 h 7748"/>
                <a:gd name="T8" fmla="*/ 13770 w 13770"/>
                <a:gd name="T9" fmla="*/ 0 h 7748"/>
                <a:gd name="T10" fmla="*/ 0 w 13770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48">
                  <a:moveTo>
                    <a:pt x="0" y="0"/>
                  </a:moveTo>
                  <a:lnTo>
                    <a:pt x="0" y="7715"/>
                  </a:lnTo>
                  <a:lnTo>
                    <a:pt x="0" y="7748"/>
                  </a:lnTo>
                  <a:lnTo>
                    <a:pt x="13770" y="7748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grpSp>
          <p:nvGrpSpPr>
            <p:cNvPr id="17" name="Group 16"/>
            <p:cNvGrpSpPr/>
            <p:nvPr userDrawn="1"/>
          </p:nvGrpSpPr>
          <p:grpSpPr>
            <a:xfrm>
              <a:off x="1" y="0"/>
              <a:ext cx="1891908" cy="1772816"/>
              <a:chOff x="1" y="0"/>
              <a:chExt cx="1891908" cy="2386930"/>
            </a:xfrm>
          </p:grpSpPr>
          <p:sp>
            <p:nvSpPr>
              <p:cNvPr id="15" name="Freeform 15"/>
              <p:cNvSpPr>
                <a:spLocks/>
              </p:cNvSpPr>
              <p:nvPr userDrawn="1"/>
            </p:nvSpPr>
            <p:spPr bwMode="auto">
              <a:xfrm>
                <a:off x="1487455" y="0"/>
                <a:ext cx="404454" cy="2386930"/>
              </a:xfrm>
              <a:custGeom>
                <a:avLst/>
                <a:gdLst>
                  <a:gd name="T0" fmla="*/ 0 w 2423"/>
                  <a:gd name="T1" fmla="*/ 0 h 13491"/>
                  <a:gd name="T2" fmla="*/ 0 w 2423"/>
                  <a:gd name="T3" fmla="*/ 13491 h 13491"/>
                  <a:gd name="T4" fmla="*/ 1 w 2423"/>
                  <a:gd name="T5" fmla="*/ 13491 h 13491"/>
                  <a:gd name="T6" fmla="*/ 2423 w 2423"/>
                  <a:gd name="T7" fmla="*/ 7715 h 13491"/>
                  <a:gd name="T8" fmla="*/ 2423 w 2423"/>
                  <a:gd name="T9" fmla="*/ 0 h 13491"/>
                  <a:gd name="T10" fmla="*/ 0 w 2423"/>
                  <a:gd name="T11" fmla="*/ 0 h 13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23" h="13491">
                    <a:moveTo>
                      <a:pt x="0" y="0"/>
                    </a:moveTo>
                    <a:lnTo>
                      <a:pt x="0" y="13491"/>
                    </a:lnTo>
                    <a:lnTo>
                      <a:pt x="1" y="13491"/>
                    </a:lnTo>
                    <a:lnTo>
                      <a:pt x="2423" y="7715"/>
                    </a:lnTo>
                    <a:lnTo>
                      <a:pt x="242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A92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Rectangle 17"/>
              <p:cNvSpPr>
                <a:spLocks noChangeArrowheads="1"/>
              </p:cNvSpPr>
              <p:nvPr userDrawn="1"/>
            </p:nvSpPr>
            <p:spPr bwMode="auto">
              <a:xfrm>
                <a:off x="1" y="0"/>
                <a:ext cx="1487454" cy="2386930"/>
              </a:xfrm>
              <a:prstGeom prst="rect">
                <a:avLst/>
              </a:prstGeom>
              <a:solidFill>
                <a:srgbClr val="FDB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2522547" y="7985"/>
            <a:ext cx="9669455" cy="1000189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9349" y="116632"/>
            <a:ext cx="1536171" cy="1529606"/>
          </a:xfrm>
        </p:spPr>
        <p:txBody>
          <a:bodyPr/>
          <a:lstStyle>
            <a:lvl1pPr algn="ctr">
              <a:defRPr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91DABAE8-7677-4DF7-B0C9-2FC996954C4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1545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20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3" y="0"/>
            <a:ext cx="12191999" cy="1772816"/>
            <a:chOff x="1" y="0"/>
            <a:chExt cx="9143999" cy="1772816"/>
          </a:xfrm>
        </p:grpSpPr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487455" y="0"/>
              <a:ext cx="7656545" cy="1016160"/>
            </a:xfrm>
            <a:custGeom>
              <a:avLst/>
              <a:gdLst>
                <a:gd name="T0" fmla="*/ 0 w 13770"/>
                <a:gd name="T1" fmla="*/ 0 h 7748"/>
                <a:gd name="T2" fmla="*/ 0 w 13770"/>
                <a:gd name="T3" fmla="*/ 7715 h 7748"/>
                <a:gd name="T4" fmla="*/ 0 w 13770"/>
                <a:gd name="T5" fmla="*/ 7748 h 7748"/>
                <a:gd name="T6" fmla="*/ 13770 w 13770"/>
                <a:gd name="T7" fmla="*/ 7748 h 7748"/>
                <a:gd name="T8" fmla="*/ 13770 w 13770"/>
                <a:gd name="T9" fmla="*/ 0 h 7748"/>
                <a:gd name="T10" fmla="*/ 0 w 13770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48">
                  <a:moveTo>
                    <a:pt x="0" y="0"/>
                  </a:moveTo>
                  <a:lnTo>
                    <a:pt x="0" y="7715"/>
                  </a:lnTo>
                  <a:lnTo>
                    <a:pt x="0" y="7748"/>
                  </a:lnTo>
                  <a:lnTo>
                    <a:pt x="13770" y="7748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1487455" y="0"/>
              <a:ext cx="404454" cy="1772816"/>
            </a:xfrm>
            <a:custGeom>
              <a:avLst/>
              <a:gdLst>
                <a:gd name="T0" fmla="*/ 0 w 2423"/>
                <a:gd name="T1" fmla="*/ 0 h 13491"/>
                <a:gd name="T2" fmla="*/ 0 w 2423"/>
                <a:gd name="T3" fmla="*/ 13491 h 13491"/>
                <a:gd name="T4" fmla="*/ 1 w 2423"/>
                <a:gd name="T5" fmla="*/ 13491 h 13491"/>
                <a:gd name="T6" fmla="*/ 2423 w 2423"/>
                <a:gd name="T7" fmla="*/ 7715 h 13491"/>
                <a:gd name="T8" fmla="*/ 2423 w 2423"/>
                <a:gd name="T9" fmla="*/ 0 h 13491"/>
                <a:gd name="T10" fmla="*/ 0 w 2423"/>
                <a:gd name="T11" fmla="*/ 0 h 13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3" h="13491">
                  <a:moveTo>
                    <a:pt x="0" y="0"/>
                  </a:moveTo>
                  <a:lnTo>
                    <a:pt x="0" y="13491"/>
                  </a:lnTo>
                  <a:lnTo>
                    <a:pt x="1" y="13491"/>
                  </a:lnTo>
                  <a:lnTo>
                    <a:pt x="2423" y="7715"/>
                  </a:lnTo>
                  <a:lnTo>
                    <a:pt x="24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>
              <a:off x="1" y="0"/>
              <a:ext cx="1487454" cy="1772816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522547" y="7985"/>
            <a:ext cx="9669455" cy="1000189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2544234" y="1825625"/>
            <a:ext cx="8809567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2544232" y="6356353"/>
            <a:ext cx="2743200" cy="365125"/>
          </a:xfrm>
        </p:spPr>
        <p:txBody>
          <a:bodyPr/>
          <a:lstStyle/>
          <a:p>
            <a:fld id="{0D562FD5-D131-4B03-8BFF-80F82A7A1BE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3"/>
            <a:ext cx="52578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9349" y="116632"/>
            <a:ext cx="1536171" cy="1529606"/>
          </a:xfrm>
        </p:spPr>
        <p:txBody>
          <a:bodyPr/>
          <a:lstStyle>
            <a:lvl1pPr algn="ctr">
              <a:defRPr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91DABAE8-7677-4DF7-B0C9-2FC996954C4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100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3" y="0"/>
            <a:ext cx="12191999" cy="1772816"/>
            <a:chOff x="1" y="0"/>
            <a:chExt cx="9143999" cy="1772816"/>
          </a:xfrm>
        </p:grpSpPr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487455" y="0"/>
              <a:ext cx="7656545" cy="1016160"/>
            </a:xfrm>
            <a:custGeom>
              <a:avLst/>
              <a:gdLst>
                <a:gd name="T0" fmla="*/ 0 w 13770"/>
                <a:gd name="T1" fmla="*/ 0 h 7748"/>
                <a:gd name="T2" fmla="*/ 0 w 13770"/>
                <a:gd name="T3" fmla="*/ 7715 h 7748"/>
                <a:gd name="T4" fmla="*/ 0 w 13770"/>
                <a:gd name="T5" fmla="*/ 7748 h 7748"/>
                <a:gd name="T6" fmla="*/ 13770 w 13770"/>
                <a:gd name="T7" fmla="*/ 7748 h 7748"/>
                <a:gd name="T8" fmla="*/ 13770 w 13770"/>
                <a:gd name="T9" fmla="*/ 0 h 7748"/>
                <a:gd name="T10" fmla="*/ 0 w 13770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48">
                  <a:moveTo>
                    <a:pt x="0" y="0"/>
                  </a:moveTo>
                  <a:lnTo>
                    <a:pt x="0" y="7715"/>
                  </a:lnTo>
                  <a:lnTo>
                    <a:pt x="0" y="7748"/>
                  </a:lnTo>
                  <a:lnTo>
                    <a:pt x="13770" y="7748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1487455" y="0"/>
              <a:ext cx="404454" cy="1772816"/>
            </a:xfrm>
            <a:custGeom>
              <a:avLst/>
              <a:gdLst>
                <a:gd name="T0" fmla="*/ 0 w 2423"/>
                <a:gd name="T1" fmla="*/ 0 h 13491"/>
                <a:gd name="T2" fmla="*/ 0 w 2423"/>
                <a:gd name="T3" fmla="*/ 13491 h 13491"/>
                <a:gd name="T4" fmla="*/ 1 w 2423"/>
                <a:gd name="T5" fmla="*/ 13491 h 13491"/>
                <a:gd name="T6" fmla="*/ 2423 w 2423"/>
                <a:gd name="T7" fmla="*/ 7715 h 13491"/>
                <a:gd name="T8" fmla="*/ 2423 w 2423"/>
                <a:gd name="T9" fmla="*/ 0 h 13491"/>
                <a:gd name="T10" fmla="*/ 0 w 2423"/>
                <a:gd name="T11" fmla="*/ 0 h 13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3" h="13491">
                  <a:moveTo>
                    <a:pt x="0" y="0"/>
                  </a:moveTo>
                  <a:lnTo>
                    <a:pt x="0" y="13491"/>
                  </a:lnTo>
                  <a:lnTo>
                    <a:pt x="1" y="13491"/>
                  </a:lnTo>
                  <a:lnTo>
                    <a:pt x="2423" y="7715"/>
                  </a:lnTo>
                  <a:lnTo>
                    <a:pt x="24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>
              <a:off x="1" y="0"/>
              <a:ext cx="1487454" cy="1772816"/>
            </a:xfrm>
            <a:prstGeom prst="rect">
              <a:avLst/>
            </a:pr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2547" y="7985"/>
            <a:ext cx="9669455" cy="1000189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2544234" y="1825625"/>
            <a:ext cx="8809567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2544232" y="6356353"/>
            <a:ext cx="2743200" cy="365125"/>
          </a:xfrm>
        </p:spPr>
        <p:txBody>
          <a:bodyPr/>
          <a:lstStyle/>
          <a:p>
            <a:fld id="{0D562FD5-D131-4B03-8BFF-80F82A7A1BE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3"/>
            <a:ext cx="52578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9349" y="116632"/>
            <a:ext cx="1536171" cy="1529606"/>
          </a:xfrm>
        </p:spPr>
        <p:txBody>
          <a:bodyPr/>
          <a:lstStyle>
            <a:lvl1pPr algn="ctr">
              <a:defRPr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91DABAE8-7677-4DF7-B0C9-2FC996954C4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37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62FD5-D131-4B03-8BFF-80F82A7A1BE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73152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772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5B4EF4-E9C9-4359-A93B-798E6D5E8696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16B1C8-45B6-46FE-B833-55F8E7528967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0825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Rest of th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21"/>
          <p:cNvSpPr>
            <a:spLocks noGrp="1"/>
          </p:cNvSpPr>
          <p:nvPr>
            <p:ph type="title"/>
          </p:nvPr>
        </p:nvSpPr>
        <p:spPr>
          <a:xfrm>
            <a:off x="486835" y="254001"/>
            <a:ext cx="11218333" cy="332399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algn="l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400" b="1" kern="120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kumimoji="0"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3750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69CB8-F204-4D06-B913-C5A26A89888A}" type="datetimeFigureOut">
              <a:rPr lang="en-US" dirty="0"/>
              <a:pPr/>
              <a:t>2/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17985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Blue/Turquoise/Yellow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/>
          <p:cNvGrpSpPr/>
          <p:nvPr userDrawn="1"/>
        </p:nvGrpSpPr>
        <p:grpSpPr>
          <a:xfrm>
            <a:off x="0" y="0"/>
            <a:ext cx="12192000" cy="6858000"/>
            <a:chOff x="-21347113" y="-7572375"/>
            <a:chExt cx="21347113" cy="7573963"/>
          </a:xfrm>
        </p:grpSpPr>
        <p:sp>
          <p:nvSpPr>
            <p:cNvPr id="34" name="Freeform 22"/>
            <p:cNvSpPr>
              <a:spLocks/>
            </p:cNvSpPr>
            <p:nvPr/>
          </p:nvSpPr>
          <p:spPr bwMode="auto">
            <a:xfrm>
              <a:off x="-9607550" y="-5054600"/>
              <a:ext cx="1123950" cy="2530475"/>
            </a:xfrm>
            <a:custGeom>
              <a:avLst/>
              <a:gdLst>
                <a:gd name="T0" fmla="*/ 2832 w 2832"/>
                <a:gd name="T1" fmla="*/ 10630 h 12751"/>
                <a:gd name="T2" fmla="*/ 2832 w 2832"/>
                <a:gd name="T3" fmla="*/ 2121 h 12751"/>
                <a:gd name="T4" fmla="*/ 3 w 2832"/>
                <a:gd name="T5" fmla="*/ 0 h 12751"/>
                <a:gd name="T6" fmla="*/ 0 w 2832"/>
                <a:gd name="T7" fmla="*/ 0 h 12751"/>
                <a:gd name="T8" fmla="*/ 0 w 2832"/>
                <a:gd name="T9" fmla="*/ 12751 h 12751"/>
                <a:gd name="T10" fmla="*/ 3 w 2832"/>
                <a:gd name="T11" fmla="*/ 12751 h 12751"/>
                <a:gd name="T12" fmla="*/ 2832 w 2832"/>
                <a:gd name="T13" fmla="*/ 10630 h 12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2" h="12751">
                  <a:moveTo>
                    <a:pt x="2832" y="10630"/>
                  </a:moveTo>
                  <a:lnTo>
                    <a:pt x="2832" y="2121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2751"/>
                  </a:lnTo>
                  <a:lnTo>
                    <a:pt x="3" y="12751"/>
                  </a:lnTo>
                  <a:lnTo>
                    <a:pt x="2832" y="106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Freeform 23"/>
            <p:cNvSpPr>
              <a:spLocks/>
            </p:cNvSpPr>
            <p:nvPr/>
          </p:nvSpPr>
          <p:spPr bwMode="auto">
            <a:xfrm>
              <a:off x="-9607550" y="-2946400"/>
              <a:ext cx="1123950" cy="2947988"/>
            </a:xfrm>
            <a:custGeom>
              <a:avLst/>
              <a:gdLst>
                <a:gd name="T0" fmla="*/ 2832 w 2832"/>
                <a:gd name="T1" fmla="*/ 0 h 14852"/>
                <a:gd name="T2" fmla="*/ 3 w 2832"/>
                <a:gd name="T3" fmla="*/ 2121 h 14852"/>
                <a:gd name="T4" fmla="*/ 0 w 2832"/>
                <a:gd name="T5" fmla="*/ 2121 h 14852"/>
                <a:gd name="T6" fmla="*/ 0 w 2832"/>
                <a:gd name="T7" fmla="*/ 14852 h 14852"/>
                <a:gd name="T8" fmla="*/ 3 w 2832"/>
                <a:gd name="T9" fmla="*/ 14852 h 14852"/>
                <a:gd name="T10" fmla="*/ 2832 w 2832"/>
                <a:gd name="T11" fmla="*/ 8536 h 14852"/>
                <a:gd name="T12" fmla="*/ 2832 w 2832"/>
                <a:gd name="T13" fmla="*/ 0 h 14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2" h="14852">
                  <a:moveTo>
                    <a:pt x="2832" y="0"/>
                  </a:moveTo>
                  <a:lnTo>
                    <a:pt x="3" y="2121"/>
                  </a:lnTo>
                  <a:lnTo>
                    <a:pt x="0" y="2121"/>
                  </a:lnTo>
                  <a:lnTo>
                    <a:pt x="0" y="14852"/>
                  </a:lnTo>
                  <a:lnTo>
                    <a:pt x="3" y="14852"/>
                  </a:lnTo>
                  <a:lnTo>
                    <a:pt x="2832" y="8536"/>
                  </a:lnTo>
                  <a:lnTo>
                    <a:pt x="2832" y="0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Rectangle 24"/>
            <p:cNvSpPr>
              <a:spLocks noChangeArrowheads="1"/>
            </p:cNvSpPr>
            <p:nvPr/>
          </p:nvSpPr>
          <p:spPr bwMode="auto">
            <a:xfrm>
              <a:off x="-8483600" y="-1252537"/>
              <a:ext cx="3700463" cy="1254125"/>
            </a:xfrm>
            <a:prstGeom prst="rect">
              <a:avLst/>
            </a:pr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3" name="Rectangle 25"/>
            <p:cNvSpPr>
              <a:spLocks noChangeArrowheads="1"/>
            </p:cNvSpPr>
            <p:nvPr/>
          </p:nvSpPr>
          <p:spPr bwMode="auto">
            <a:xfrm>
              <a:off x="-8483600" y="-4633912"/>
              <a:ext cx="3700463" cy="1687513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4" name="Freeform 26"/>
            <p:cNvSpPr>
              <a:spLocks/>
            </p:cNvSpPr>
            <p:nvPr/>
          </p:nvSpPr>
          <p:spPr bwMode="auto">
            <a:xfrm>
              <a:off x="-9607550" y="-1252537"/>
              <a:ext cx="1123950" cy="1254125"/>
            </a:xfrm>
            <a:custGeom>
              <a:avLst/>
              <a:gdLst>
                <a:gd name="T0" fmla="*/ 0 w 2829"/>
                <a:gd name="T1" fmla="*/ 6316 h 6316"/>
                <a:gd name="T2" fmla="*/ 2829 w 2829"/>
                <a:gd name="T3" fmla="*/ 6316 h 6316"/>
                <a:gd name="T4" fmla="*/ 2829 w 2829"/>
                <a:gd name="T5" fmla="*/ 0 h 6316"/>
                <a:gd name="T6" fmla="*/ 0 w 2829"/>
                <a:gd name="T7" fmla="*/ 6316 h 6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29" h="6316">
                  <a:moveTo>
                    <a:pt x="0" y="6316"/>
                  </a:moveTo>
                  <a:lnTo>
                    <a:pt x="2829" y="6316"/>
                  </a:lnTo>
                  <a:lnTo>
                    <a:pt x="2829" y="0"/>
                  </a:lnTo>
                  <a:lnTo>
                    <a:pt x="0" y="6316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5" name="Rectangle 27"/>
            <p:cNvSpPr>
              <a:spLocks noChangeArrowheads="1"/>
            </p:cNvSpPr>
            <p:nvPr/>
          </p:nvSpPr>
          <p:spPr bwMode="auto">
            <a:xfrm>
              <a:off x="-8483600" y="-6318250"/>
              <a:ext cx="3700463" cy="1684338"/>
            </a:xfrm>
            <a:prstGeom prst="rect">
              <a:avLst/>
            </a:pr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6" name="Rectangle 28"/>
            <p:cNvSpPr>
              <a:spLocks noChangeArrowheads="1"/>
            </p:cNvSpPr>
            <p:nvPr/>
          </p:nvSpPr>
          <p:spPr bwMode="auto">
            <a:xfrm>
              <a:off x="-8483600" y="-2946400"/>
              <a:ext cx="3700463" cy="1693863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7" name="Freeform 29"/>
            <p:cNvSpPr>
              <a:spLocks/>
            </p:cNvSpPr>
            <p:nvPr/>
          </p:nvSpPr>
          <p:spPr bwMode="auto">
            <a:xfrm>
              <a:off x="-4783138" y="-3373437"/>
              <a:ext cx="1111250" cy="2120900"/>
            </a:xfrm>
            <a:custGeom>
              <a:avLst/>
              <a:gdLst>
                <a:gd name="T0" fmla="*/ 0 w 2801"/>
                <a:gd name="T1" fmla="*/ 2155 h 10691"/>
                <a:gd name="T2" fmla="*/ 0 w 2801"/>
                <a:gd name="T3" fmla="*/ 10691 h 10691"/>
                <a:gd name="T4" fmla="*/ 2 w 2801"/>
                <a:gd name="T5" fmla="*/ 10691 h 10691"/>
                <a:gd name="T6" fmla="*/ 2801 w 2801"/>
                <a:gd name="T7" fmla="*/ 4276 h 10691"/>
                <a:gd name="T8" fmla="*/ 2801 w 2801"/>
                <a:gd name="T9" fmla="*/ 0 h 10691"/>
                <a:gd name="T10" fmla="*/ 2 w 2801"/>
                <a:gd name="T11" fmla="*/ 2155 h 10691"/>
                <a:gd name="T12" fmla="*/ 0 w 2801"/>
                <a:gd name="T13" fmla="*/ 2155 h 10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1" h="10691">
                  <a:moveTo>
                    <a:pt x="0" y="2155"/>
                  </a:moveTo>
                  <a:lnTo>
                    <a:pt x="0" y="10691"/>
                  </a:lnTo>
                  <a:lnTo>
                    <a:pt x="2" y="10691"/>
                  </a:lnTo>
                  <a:lnTo>
                    <a:pt x="2801" y="4276"/>
                  </a:lnTo>
                  <a:lnTo>
                    <a:pt x="2801" y="0"/>
                  </a:lnTo>
                  <a:lnTo>
                    <a:pt x="2" y="2155"/>
                  </a:lnTo>
                  <a:lnTo>
                    <a:pt x="0" y="2155"/>
                  </a:lnTo>
                  <a:close/>
                </a:path>
              </a:pathLst>
            </a:custGeom>
            <a:solidFill>
              <a:srgbClr val="DA92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8" name="Freeform 30"/>
            <p:cNvSpPr>
              <a:spLocks/>
            </p:cNvSpPr>
            <p:nvPr/>
          </p:nvSpPr>
          <p:spPr bwMode="auto">
            <a:xfrm>
              <a:off x="-4783138" y="-6318250"/>
              <a:ext cx="1111250" cy="2111375"/>
            </a:xfrm>
            <a:custGeom>
              <a:avLst/>
              <a:gdLst>
                <a:gd name="T0" fmla="*/ 2 w 2801"/>
                <a:gd name="T1" fmla="*/ 8488 h 10643"/>
                <a:gd name="T2" fmla="*/ 2801 w 2801"/>
                <a:gd name="T3" fmla="*/ 10643 h 10643"/>
                <a:gd name="T4" fmla="*/ 2801 w 2801"/>
                <a:gd name="T5" fmla="*/ 6415 h 10643"/>
                <a:gd name="T6" fmla="*/ 2 w 2801"/>
                <a:gd name="T7" fmla="*/ 0 h 10643"/>
                <a:gd name="T8" fmla="*/ 0 w 2801"/>
                <a:gd name="T9" fmla="*/ 0 h 10643"/>
                <a:gd name="T10" fmla="*/ 0 w 2801"/>
                <a:gd name="T11" fmla="*/ 8488 h 10643"/>
                <a:gd name="T12" fmla="*/ 2 w 2801"/>
                <a:gd name="T13" fmla="*/ 8488 h 10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1" h="10643">
                  <a:moveTo>
                    <a:pt x="2" y="8488"/>
                  </a:moveTo>
                  <a:lnTo>
                    <a:pt x="2801" y="10643"/>
                  </a:lnTo>
                  <a:lnTo>
                    <a:pt x="2801" y="6415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8488"/>
                  </a:lnTo>
                  <a:lnTo>
                    <a:pt x="2" y="8488"/>
                  </a:lnTo>
                  <a:close/>
                </a:path>
              </a:pathLst>
            </a:custGeom>
            <a:solidFill>
              <a:srgbClr val="0083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9" name="Freeform 31"/>
            <p:cNvSpPr>
              <a:spLocks/>
            </p:cNvSpPr>
            <p:nvPr/>
          </p:nvSpPr>
          <p:spPr bwMode="auto">
            <a:xfrm>
              <a:off x="-4783138" y="-4633912"/>
              <a:ext cx="1111250" cy="1687513"/>
            </a:xfrm>
            <a:custGeom>
              <a:avLst/>
              <a:gdLst>
                <a:gd name="T0" fmla="*/ 0 w 2801"/>
                <a:gd name="T1" fmla="*/ 0 h 8509"/>
                <a:gd name="T2" fmla="*/ 0 w 2801"/>
                <a:gd name="T3" fmla="*/ 8509 h 8509"/>
                <a:gd name="T4" fmla="*/ 2 w 2801"/>
                <a:gd name="T5" fmla="*/ 8509 h 8509"/>
                <a:gd name="T6" fmla="*/ 2801 w 2801"/>
                <a:gd name="T7" fmla="*/ 6354 h 8509"/>
                <a:gd name="T8" fmla="*/ 2801 w 2801"/>
                <a:gd name="T9" fmla="*/ 2155 h 8509"/>
                <a:gd name="T10" fmla="*/ 2 w 2801"/>
                <a:gd name="T11" fmla="*/ 0 h 8509"/>
                <a:gd name="T12" fmla="*/ 0 w 2801"/>
                <a:gd name="T13" fmla="*/ 0 h 8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1" h="8509">
                  <a:moveTo>
                    <a:pt x="0" y="0"/>
                  </a:moveTo>
                  <a:lnTo>
                    <a:pt x="0" y="8509"/>
                  </a:lnTo>
                  <a:lnTo>
                    <a:pt x="2" y="8509"/>
                  </a:lnTo>
                  <a:lnTo>
                    <a:pt x="2801" y="6354"/>
                  </a:lnTo>
                  <a:lnTo>
                    <a:pt x="2801" y="2155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0" name="Freeform 32"/>
            <p:cNvSpPr>
              <a:spLocks/>
            </p:cNvSpPr>
            <p:nvPr/>
          </p:nvSpPr>
          <p:spPr bwMode="auto">
            <a:xfrm>
              <a:off x="-4783138" y="-2524125"/>
              <a:ext cx="1111250" cy="2525713"/>
            </a:xfrm>
            <a:custGeom>
              <a:avLst/>
              <a:gdLst>
                <a:gd name="T0" fmla="*/ 2 w 2801"/>
                <a:gd name="T1" fmla="*/ 6415 h 12731"/>
                <a:gd name="T2" fmla="*/ 0 w 2801"/>
                <a:gd name="T3" fmla="*/ 6415 h 12731"/>
                <a:gd name="T4" fmla="*/ 0 w 2801"/>
                <a:gd name="T5" fmla="*/ 12731 h 12731"/>
                <a:gd name="T6" fmla="*/ 2801 w 2801"/>
                <a:gd name="T7" fmla="*/ 12731 h 12731"/>
                <a:gd name="T8" fmla="*/ 2801 w 2801"/>
                <a:gd name="T9" fmla="*/ 0 h 12731"/>
                <a:gd name="T10" fmla="*/ 2 w 2801"/>
                <a:gd name="T11" fmla="*/ 6415 h 12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01" h="12731">
                  <a:moveTo>
                    <a:pt x="2" y="6415"/>
                  </a:moveTo>
                  <a:lnTo>
                    <a:pt x="0" y="6415"/>
                  </a:lnTo>
                  <a:lnTo>
                    <a:pt x="0" y="12731"/>
                  </a:lnTo>
                  <a:lnTo>
                    <a:pt x="2801" y="12731"/>
                  </a:lnTo>
                  <a:lnTo>
                    <a:pt x="2801" y="0"/>
                  </a:lnTo>
                  <a:lnTo>
                    <a:pt x="2" y="6415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1" name="Rectangle 33"/>
            <p:cNvSpPr>
              <a:spLocks noChangeArrowheads="1"/>
            </p:cNvSpPr>
            <p:nvPr/>
          </p:nvSpPr>
          <p:spPr bwMode="auto">
            <a:xfrm>
              <a:off x="-3671888" y="-4206875"/>
              <a:ext cx="3671888" cy="833439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2" name="Rectangle 34"/>
            <p:cNvSpPr>
              <a:spLocks noChangeArrowheads="1"/>
            </p:cNvSpPr>
            <p:nvPr/>
          </p:nvSpPr>
          <p:spPr bwMode="auto">
            <a:xfrm>
              <a:off x="-21347113" y="-7572375"/>
              <a:ext cx="11739563" cy="2517775"/>
            </a:xfrm>
            <a:prstGeom prst="rect">
              <a:avLst/>
            </a:pr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3" name="Freeform 35"/>
            <p:cNvSpPr>
              <a:spLocks/>
            </p:cNvSpPr>
            <p:nvPr/>
          </p:nvSpPr>
          <p:spPr bwMode="auto">
            <a:xfrm>
              <a:off x="-9607550" y="-7572375"/>
              <a:ext cx="1123950" cy="2938463"/>
            </a:xfrm>
            <a:custGeom>
              <a:avLst/>
              <a:gdLst>
                <a:gd name="T0" fmla="*/ 3 w 2832"/>
                <a:gd name="T1" fmla="*/ 12683 h 14804"/>
                <a:gd name="T2" fmla="*/ 2832 w 2832"/>
                <a:gd name="T3" fmla="*/ 14804 h 14804"/>
                <a:gd name="T4" fmla="*/ 2832 w 2832"/>
                <a:gd name="T5" fmla="*/ 6316 h 14804"/>
                <a:gd name="T6" fmla="*/ 3 w 2832"/>
                <a:gd name="T7" fmla="*/ 0 h 14804"/>
                <a:gd name="T8" fmla="*/ 0 w 2832"/>
                <a:gd name="T9" fmla="*/ 0 h 14804"/>
                <a:gd name="T10" fmla="*/ 0 w 2832"/>
                <a:gd name="T11" fmla="*/ 12683 h 14804"/>
                <a:gd name="T12" fmla="*/ 3 w 2832"/>
                <a:gd name="T13" fmla="*/ 12683 h 14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2" h="14804">
                  <a:moveTo>
                    <a:pt x="3" y="12683"/>
                  </a:moveTo>
                  <a:lnTo>
                    <a:pt x="2832" y="14804"/>
                  </a:lnTo>
                  <a:lnTo>
                    <a:pt x="2832" y="631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2683"/>
                  </a:lnTo>
                  <a:lnTo>
                    <a:pt x="3" y="12683"/>
                  </a:lnTo>
                  <a:close/>
                </a:path>
              </a:pathLst>
            </a:custGeom>
            <a:solidFill>
              <a:srgbClr val="0083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4" name="Freeform 36"/>
            <p:cNvSpPr>
              <a:spLocks/>
            </p:cNvSpPr>
            <p:nvPr/>
          </p:nvSpPr>
          <p:spPr bwMode="auto">
            <a:xfrm>
              <a:off x="-9607550" y="-7572375"/>
              <a:ext cx="1123950" cy="1254125"/>
            </a:xfrm>
            <a:custGeom>
              <a:avLst/>
              <a:gdLst>
                <a:gd name="T0" fmla="*/ 2829 w 2829"/>
                <a:gd name="T1" fmla="*/ 0 h 6316"/>
                <a:gd name="T2" fmla="*/ 0 w 2829"/>
                <a:gd name="T3" fmla="*/ 0 h 6316"/>
                <a:gd name="T4" fmla="*/ 2829 w 2829"/>
                <a:gd name="T5" fmla="*/ 6316 h 6316"/>
                <a:gd name="T6" fmla="*/ 2829 w 2829"/>
                <a:gd name="T7" fmla="*/ 0 h 6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29" h="6316">
                  <a:moveTo>
                    <a:pt x="2829" y="0"/>
                  </a:moveTo>
                  <a:lnTo>
                    <a:pt x="0" y="0"/>
                  </a:lnTo>
                  <a:lnTo>
                    <a:pt x="2829" y="6316"/>
                  </a:lnTo>
                  <a:lnTo>
                    <a:pt x="2829" y="0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5" name="Rectangle 37"/>
            <p:cNvSpPr>
              <a:spLocks noChangeArrowheads="1"/>
            </p:cNvSpPr>
            <p:nvPr/>
          </p:nvSpPr>
          <p:spPr bwMode="auto">
            <a:xfrm>
              <a:off x="-21347113" y="-5054600"/>
              <a:ext cx="11739563" cy="2530475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6" name="Rectangle 38"/>
            <p:cNvSpPr>
              <a:spLocks noChangeArrowheads="1"/>
            </p:cNvSpPr>
            <p:nvPr/>
          </p:nvSpPr>
          <p:spPr bwMode="auto">
            <a:xfrm>
              <a:off x="-3671888" y="-2524125"/>
              <a:ext cx="3671888" cy="2525713"/>
            </a:xfrm>
            <a:prstGeom prst="rect">
              <a:avLst/>
            </a:pr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7" name="Rectangle 39"/>
            <p:cNvSpPr>
              <a:spLocks noChangeArrowheads="1"/>
            </p:cNvSpPr>
            <p:nvPr/>
          </p:nvSpPr>
          <p:spPr bwMode="auto">
            <a:xfrm>
              <a:off x="-21347113" y="-2524125"/>
              <a:ext cx="11739563" cy="2525713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8" name="Rectangle 40"/>
            <p:cNvSpPr>
              <a:spLocks noChangeArrowheads="1"/>
            </p:cNvSpPr>
            <p:nvPr/>
          </p:nvSpPr>
          <p:spPr bwMode="auto">
            <a:xfrm>
              <a:off x="-3671888" y="-3373438"/>
              <a:ext cx="3671888" cy="849313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9" name="Rectangle 41"/>
            <p:cNvSpPr>
              <a:spLocks noChangeArrowheads="1"/>
            </p:cNvSpPr>
            <p:nvPr/>
          </p:nvSpPr>
          <p:spPr bwMode="auto">
            <a:xfrm>
              <a:off x="-3671888" y="-5045075"/>
              <a:ext cx="3671888" cy="838200"/>
            </a:xfrm>
            <a:prstGeom prst="rect">
              <a:avLst/>
            </a:pr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0" name="Rectangle 42"/>
            <p:cNvSpPr>
              <a:spLocks noChangeArrowheads="1"/>
            </p:cNvSpPr>
            <p:nvPr/>
          </p:nvSpPr>
          <p:spPr bwMode="auto">
            <a:xfrm>
              <a:off x="-3671888" y="-7572375"/>
              <a:ext cx="3671888" cy="2527300"/>
            </a:xfrm>
            <a:prstGeom prst="rect">
              <a:avLst/>
            </a:pr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1" name="Rectangle 43"/>
            <p:cNvSpPr>
              <a:spLocks noChangeArrowheads="1"/>
            </p:cNvSpPr>
            <p:nvPr/>
          </p:nvSpPr>
          <p:spPr bwMode="auto">
            <a:xfrm>
              <a:off x="-8483600" y="-7572375"/>
              <a:ext cx="3700463" cy="1254125"/>
            </a:xfrm>
            <a:prstGeom prst="rect">
              <a:avLst/>
            </a:prstGeom>
            <a:solidFill>
              <a:srgbClr val="F4F4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2" name="Freeform 44"/>
            <p:cNvSpPr>
              <a:spLocks/>
            </p:cNvSpPr>
            <p:nvPr/>
          </p:nvSpPr>
          <p:spPr bwMode="auto">
            <a:xfrm>
              <a:off x="-4783138" y="-7572375"/>
              <a:ext cx="1111250" cy="2527300"/>
            </a:xfrm>
            <a:custGeom>
              <a:avLst/>
              <a:gdLst>
                <a:gd name="T0" fmla="*/ 2 w 2801"/>
                <a:gd name="T1" fmla="*/ 6316 h 12731"/>
                <a:gd name="T2" fmla="*/ 2801 w 2801"/>
                <a:gd name="T3" fmla="*/ 12731 h 12731"/>
                <a:gd name="T4" fmla="*/ 2801 w 2801"/>
                <a:gd name="T5" fmla="*/ 0 h 12731"/>
                <a:gd name="T6" fmla="*/ 0 w 2801"/>
                <a:gd name="T7" fmla="*/ 0 h 12731"/>
                <a:gd name="T8" fmla="*/ 0 w 2801"/>
                <a:gd name="T9" fmla="*/ 6316 h 12731"/>
                <a:gd name="T10" fmla="*/ 2 w 2801"/>
                <a:gd name="T11" fmla="*/ 6316 h 12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01" h="12731">
                  <a:moveTo>
                    <a:pt x="2" y="6316"/>
                  </a:moveTo>
                  <a:lnTo>
                    <a:pt x="2801" y="12731"/>
                  </a:lnTo>
                  <a:lnTo>
                    <a:pt x="2801" y="0"/>
                  </a:lnTo>
                  <a:lnTo>
                    <a:pt x="0" y="0"/>
                  </a:lnTo>
                  <a:lnTo>
                    <a:pt x="0" y="6316"/>
                  </a:lnTo>
                  <a:lnTo>
                    <a:pt x="2" y="6316"/>
                  </a:lnTo>
                  <a:close/>
                </a:path>
              </a:pathLst>
            </a:custGeom>
            <a:solidFill>
              <a:srgbClr val="CB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39" y="4627404"/>
            <a:ext cx="6336704" cy="2041956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39" y="2318399"/>
            <a:ext cx="6336704" cy="217731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994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BB376-B19C-488D-ABEB-03C7E6E9E3E0}" type="datetimeFigureOut">
              <a:rPr lang="en-US" dirty="0"/>
              <a:pPr/>
              <a:t>2/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2426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F077B-A50F-4D64-8574-E2D6A98A5553}" type="datetimeFigureOut">
              <a:rPr lang="en-US" dirty="0"/>
              <a:pPr/>
              <a:t>2/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44876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8" y="1845734"/>
            <a:ext cx="4937760" cy="40233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9E2A62-1983-43A1-A163-D8AA46534C80}" type="datetimeFigureOut">
              <a:rPr lang="en-US" dirty="0"/>
              <a:pPr/>
              <a:t>2/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3943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8F3E3B-34E3-4345-B2A1-994B83598A9C}" type="datetimeFigureOut">
              <a:rPr lang="en-US" dirty="0"/>
              <a:pPr/>
              <a:t>2/2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9560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816C96-82A1-4D77-8ADA-627AC6FE3D65}" type="datetimeFigureOut">
              <a:rPr lang="en-US" dirty="0"/>
              <a:pPr/>
              <a:t>2/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89207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102C1E-28F2-47E9-802D-339E64E2F920}" type="datetimeFigureOut">
              <a:rPr lang="en-US" dirty="0"/>
              <a:pPr/>
              <a:t>2/2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5053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24271A48-F18A-45B3-BC05-1E27DA3F88AF}" type="datetimeFigureOut">
              <a:rPr lang="en-US" dirty="0"/>
              <a:pPr/>
              <a:t>2/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455F5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>
                <a:solidFill>
                  <a:srgbClr val="455F51"/>
                </a:solidFill>
              </a:rPr>
              <a:pPr/>
              <a:t>‹#›</a:t>
            </a:fld>
            <a:endParaRPr lang="en-US" dirty="0">
              <a:solidFill>
                <a:srgbClr val="455F5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7445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47F8-9654-4282-85D2-65F41AAE7A75}" type="datetimeFigureOut">
              <a:rPr lang="en-US" dirty="0"/>
              <a:pPr/>
              <a:t>2/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4558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B6E300-0A13-4A81-945A-7333C271A069}" type="datetimeFigureOut">
              <a:rPr lang="en-US" dirty="0"/>
              <a:pPr/>
              <a:t>2/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13481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71962-1EA4-46E7-BCB0-F36CE46D1A59}" type="datetimeFigureOut">
              <a:rPr lang="en-US" dirty="0"/>
              <a:pPr/>
              <a:t>2/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6113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4234" y="1825625"/>
            <a:ext cx="8809567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544232" y="6356353"/>
            <a:ext cx="2743200" cy="365125"/>
          </a:xfrm>
        </p:spPr>
        <p:txBody>
          <a:bodyPr/>
          <a:lstStyle/>
          <a:p>
            <a:fld id="{0D562FD5-D131-4B03-8BFF-80F82A7A1BE9}" type="datetimeFigureOut">
              <a:rPr lang="en-US" smtClean="0"/>
              <a:t>2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3"/>
            <a:ext cx="52578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" y="0"/>
            <a:ext cx="12191999" cy="1772816"/>
            <a:chOff x="1" y="0"/>
            <a:chExt cx="9143999" cy="1772816"/>
          </a:xfrm>
        </p:grpSpPr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487455" y="0"/>
              <a:ext cx="7656545" cy="1016160"/>
            </a:xfrm>
            <a:custGeom>
              <a:avLst/>
              <a:gdLst>
                <a:gd name="T0" fmla="*/ 0 w 13770"/>
                <a:gd name="T1" fmla="*/ 0 h 7748"/>
                <a:gd name="T2" fmla="*/ 0 w 13770"/>
                <a:gd name="T3" fmla="*/ 7715 h 7748"/>
                <a:gd name="T4" fmla="*/ 0 w 13770"/>
                <a:gd name="T5" fmla="*/ 7748 h 7748"/>
                <a:gd name="T6" fmla="*/ 13770 w 13770"/>
                <a:gd name="T7" fmla="*/ 7748 h 7748"/>
                <a:gd name="T8" fmla="*/ 13770 w 13770"/>
                <a:gd name="T9" fmla="*/ 0 h 7748"/>
                <a:gd name="T10" fmla="*/ 0 w 13770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48">
                  <a:moveTo>
                    <a:pt x="0" y="0"/>
                  </a:moveTo>
                  <a:lnTo>
                    <a:pt x="0" y="7715"/>
                  </a:lnTo>
                  <a:lnTo>
                    <a:pt x="0" y="7748"/>
                  </a:lnTo>
                  <a:lnTo>
                    <a:pt x="13770" y="7748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B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grpSp>
          <p:nvGrpSpPr>
            <p:cNvPr id="17" name="Group 16"/>
            <p:cNvGrpSpPr/>
            <p:nvPr userDrawn="1"/>
          </p:nvGrpSpPr>
          <p:grpSpPr>
            <a:xfrm>
              <a:off x="1" y="0"/>
              <a:ext cx="1891908" cy="1772816"/>
              <a:chOff x="1" y="0"/>
              <a:chExt cx="1891908" cy="2386930"/>
            </a:xfrm>
          </p:grpSpPr>
          <p:sp>
            <p:nvSpPr>
              <p:cNvPr id="15" name="Freeform 15"/>
              <p:cNvSpPr>
                <a:spLocks/>
              </p:cNvSpPr>
              <p:nvPr userDrawn="1"/>
            </p:nvSpPr>
            <p:spPr bwMode="auto">
              <a:xfrm>
                <a:off x="1487455" y="0"/>
                <a:ext cx="404454" cy="2386930"/>
              </a:xfrm>
              <a:custGeom>
                <a:avLst/>
                <a:gdLst>
                  <a:gd name="T0" fmla="*/ 0 w 2423"/>
                  <a:gd name="T1" fmla="*/ 0 h 13491"/>
                  <a:gd name="T2" fmla="*/ 0 w 2423"/>
                  <a:gd name="T3" fmla="*/ 13491 h 13491"/>
                  <a:gd name="T4" fmla="*/ 1 w 2423"/>
                  <a:gd name="T5" fmla="*/ 13491 h 13491"/>
                  <a:gd name="T6" fmla="*/ 2423 w 2423"/>
                  <a:gd name="T7" fmla="*/ 7715 h 13491"/>
                  <a:gd name="T8" fmla="*/ 2423 w 2423"/>
                  <a:gd name="T9" fmla="*/ 0 h 13491"/>
                  <a:gd name="T10" fmla="*/ 0 w 2423"/>
                  <a:gd name="T11" fmla="*/ 0 h 13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23" h="13491">
                    <a:moveTo>
                      <a:pt x="0" y="0"/>
                    </a:moveTo>
                    <a:lnTo>
                      <a:pt x="0" y="13491"/>
                    </a:lnTo>
                    <a:lnTo>
                      <a:pt x="1" y="13491"/>
                    </a:lnTo>
                    <a:lnTo>
                      <a:pt x="2423" y="7715"/>
                    </a:lnTo>
                    <a:lnTo>
                      <a:pt x="242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A92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16" name="Rectangle 17"/>
              <p:cNvSpPr>
                <a:spLocks noChangeArrowheads="1"/>
              </p:cNvSpPr>
              <p:nvPr userDrawn="1"/>
            </p:nvSpPr>
            <p:spPr bwMode="auto">
              <a:xfrm>
                <a:off x="1" y="0"/>
                <a:ext cx="1487454" cy="2386930"/>
              </a:xfrm>
              <a:prstGeom prst="rect">
                <a:avLst/>
              </a:prstGeom>
              <a:solidFill>
                <a:srgbClr val="FDB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</p:grp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2522547" y="7985"/>
            <a:ext cx="9669455" cy="1000189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9349" y="116632"/>
            <a:ext cx="1536171" cy="1529606"/>
          </a:xfrm>
        </p:spPr>
        <p:txBody>
          <a:bodyPr/>
          <a:lstStyle>
            <a:lvl1pPr algn="ctr">
              <a:defRPr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91DABAE8-7677-4DF7-B0C9-2FC996954C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6492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1603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4617B"/>
                </a:solidFill>
              </a:defRPr>
            </a:lvl1pPr>
          </a:lstStyle>
          <a:p>
            <a:pPr>
              <a:defRPr/>
            </a:pPr>
            <a:fld id="{CE1DD8A1-7A3B-4978-9860-BAC391906CC3}" type="datetimeFigureOut">
              <a:rPr lang="en-US"/>
              <a:pPr>
                <a:defRPr/>
              </a:pPr>
              <a:t>2/2/2020</a:t>
            </a:fld>
            <a:endParaRPr lang="en-US"/>
          </a:p>
        </p:txBody>
      </p:sp>
      <p:sp>
        <p:nvSpPr>
          <p:cNvPr id="5" name="Footer Placeholder 18"/>
          <p:cNvSpPr>
            <a:spLocks noGrp="1"/>
          </p:cNvSpPr>
          <p:nvPr>
            <p:ph type="ftr" sz="quarter" idx="11"/>
          </p:nvPr>
        </p:nvSpPr>
        <p:spPr>
          <a:xfrm>
            <a:off x="4775200" y="76201"/>
            <a:ext cx="3860800" cy="288925"/>
          </a:xfrm>
        </p:spPr>
        <p:txBody>
          <a:bodyPr/>
          <a:lstStyle>
            <a:lvl1pPr>
              <a:defRPr>
                <a:solidFill>
                  <a:srgbClr val="04617B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10972801" y="6473825"/>
            <a:ext cx="1011767" cy="247650"/>
          </a:xfrm>
        </p:spPr>
        <p:txBody>
          <a:bodyPr/>
          <a:lstStyle>
            <a:lvl1pPr>
              <a:defRPr>
                <a:solidFill>
                  <a:srgbClr val="04617B"/>
                </a:solidFill>
              </a:defRPr>
            </a:lvl1pPr>
          </a:lstStyle>
          <a:p>
            <a:fld id="{A03B24E9-29D0-4EE9-A41A-FD7C27461C4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35644198"/>
      </p:ext>
    </p:extLst>
  </p:cSld>
  <p:clrMapOvr>
    <a:masterClrMapping/>
  </p:clrMapOvr>
  <p:transition spd="med">
    <p:rand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3" y="0"/>
            <a:ext cx="12191999" cy="1772816"/>
            <a:chOff x="1" y="0"/>
            <a:chExt cx="9143999" cy="1772816"/>
          </a:xfrm>
        </p:grpSpPr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487455" y="0"/>
              <a:ext cx="7656545" cy="1016160"/>
            </a:xfrm>
            <a:custGeom>
              <a:avLst/>
              <a:gdLst>
                <a:gd name="T0" fmla="*/ 0 w 13770"/>
                <a:gd name="T1" fmla="*/ 0 h 7748"/>
                <a:gd name="T2" fmla="*/ 0 w 13770"/>
                <a:gd name="T3" fmla="*/ 7715 h 7748"/>
                <a:gd name="T4" fmla="*/ 0 w 13770"/>
                <a:gd name="T5" fmla="*/ 7748 h 7748"/>
                <a:gd name="T6" fmla="*/ 13770 w 13770"/>
                <a:gd name="T7" fmla="*/ 7748 h 7748"/>
                <a:gd name="T8" fmla="*/ 13770 w 13770"/>
                <a:gd name="T9" fmla="*/ 0 h 7748"/>
                <a:gd name="T10" fmla="*/ 0 w 13770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48">
                  <a:moveTo>
                    <a:pt x="0" y="0"/>
                  </a:moveTo>
                  <a:lnTo>
                    <a:pt x="0" y="7715"/>
                  </a:lnTo>
                  <a:lnTo>
                    <a:pt x="0" y="7748"/>
                  </a:lnTo>
                  <a:lnTo>
                    <a:pt x="13770" y="7748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1487455" y="0"/>
              <a:ext cx="404454" cy="1772816"/>
            </a:xfrm>
            <a:custGeom>
              <a:avLst/>
              <a:gdLst>
                <a:gd name="T0" fmla="*/ 0 w 2423"/>
                <a:gd name="T1" fmla="*/ 0 h 13491"/>
                <a:gd name="T2" fmla="*/ 0 w 2423"/>
                <a:gd name="T3" fmla="*/ 13491 h 13491"/>
                <a:gd name="T4" fmla="*/ 1 w 2423"/>
                <a:gd name="T5" fmla="*/ 13491 h 13491"/>
                <a:gd name="T6" fmla="*/ 2423 w 2423"/>
                <a:gd name="T7" fmla="*/ 7715 h 13491"/>
                <a:gd name="T8" fmla="*/ 2423 w 2423"/>
                <a:gd name="T9" fmla="*/ 0 h 13491"/>
                <a:gd name="T10" fmla="*/ 0 w 2423"/>
                <a:gd name="T11" fmla="*/ 0 h 13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3" h="13491">
                  <a:moveTo>
                    <a:pt x="0" y="0"/>
                  </a:moveTo>
                  <a:lnTo>
                    <a:pt x="0" y="13491"/>
                  </a:lnTo>
                  <a:lnTo>
                    <a:pt x="1" y="13491"/>
                  </a:lnTo>
                  <a:lnTo>
                    <a:pt x="2423" y="7715"/>
                  </a:lnTo>
                  <a:lnTo>
                    <a:pt x="24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/>
            </a:p>
          </p:txBody>
        </p:sp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>
              <a:off x="1" y="0"/>
              <a:ext cx="1487454" cy="1772816"/>
            </a:xfrm>
            <a:prstGeom prst="rect">
              <a:avLst/>
            </a:prstGeom>
            <a:solidFill>
              <a:srgbClr val="003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/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522547" y="7985"/>
            <a:ext cx="9669455" cy="1000189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2544234" y="1825625"/>
            <a:ext cx="8809567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2544232" y="6356353"/>
            <a:ext cx="2743200" cy="365125"/>
          </a:xfrm>
        </p:spPr>
        <p:txBody>
          <a:bodyPr/>
          <a:lstStyle/>
          <a:p>
            <a:fld id="{0D562FD5-D131-4B03-8BFF-80F82A7A1BE9}" type="datetimeFigureOut">
              <a:rPr lang="en-US" smtClean="0"/>
              <a:t>2/2/2020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3"/>
            <a:ext cx="52578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9349" y="116632"/>
            <a:ext cx="1536171" cy="1529606"/>
          </a:xfrm>
        </p:spPr>
        <p:txBody>
          <a:bodyPr/>
          <a:lstStyle>
            <a:lvl1pPr algn="ctr">
              <a:defRPr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91DABAE8-7677-4DF7-B0C9-2FC996954C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571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3" y="0"/>
            <a:ext cx="12191999" cy="1772816"/>
            <a:chOff x="1" y="0"/>
            <a:chExt cx="9143999" cy="1772816"/>
          </a:xfrm>
        </p:grpSpPr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487455" y="0"/>
              <a:ext cx="7656545" cy="1016160"/>
            </a:xfrm>
            <a:custGeom>
              <a:avLst/>
              <a:gdLst>
                <a:gd name="T0" fmla="*/ 0 w 13770"/>
                <a:gd name="T1" fmla="*/ 0 h 7748"/>
                <a:gd name="T2" fmla="*/ 0 w 13770"/>
                <a:gd name="T3" fmla="*/ 7715 h 7748"/>
                <a:gd name="T4" fmla="*/ 0 w 13770"/>
                <a:gd name="T5" fmla="*/ 7748 h 7748"/>
                <a:gd name="T6" fmla="*/ 13770 w 13770"/>
                <a:gd name="T7" fmla="*/ 7748 h 7748"/>
                <a:gd name="T8" fmla="*/ 13770 w 13770"/>
                <a:gd name="T9" fmla="*/ 0 h 7748"/>
                <a:gd name="T10" fmla="*/ 0 w 13770"/>
                <a:gd name="T11" fmla="*/ 0 h 7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70" h="7748">
                  <a:moveTo>
                    <a:pt x="0" y="0"/>
                  </a:moveTo>
                  <a:lnTo>
                    <a:pt x="0" y="7715"/>
                  </a:lnTo>
                  <a:lnTo>
                    <a:pt x="0" y="7748"/>
                  </a:lnTo>
                  <a:lnTo>
                    <a:pt x="13770" y="7748"/>
                  </a:lnTo>
                  <a:lnTo>
                    <a:pt x="137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1487455" y="0"/>
              <a:ext cx="404454" cy="1772816"/>
            </a:xfrm>
            <a:custGeom>
              <a:avLst/>
              <a:gdLst>
                <a:gd name="T0" fmla="*/ 0 w 2423"/>
                <a:gd name="T1" fmla="*/ 0 h 13491"/>
                <a:gd name="T2" fmla="*/ 0 w 2423"/>
                <a:gd name="T3" fmla="*/ 13491 h 13491"/>
                <a:gd name="T4" fmla="*/ 1 w 2423"/>
                <a:gd name="T5" fmla="*/ 13491 h 13491"/>
                <a:gd name="T6" fmla="*/ 2423 w 2423"/>
                <a:gd name="T7" fmla="*/ 7715 h 13491"/>
                <a:gd name="T8" fmla="*/ 2423 w 2423"/>
                <a:gd name="T9" fmla="*/ 0 h 13491"/>
                <a:gd name="T10" fmla="*/ 0 w 2423"/>
                <a:gd name="T11" fmla="*/ 0 h 13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3" h="13491">
                  <a:moveTo>
                    <a:pt x="0" y="0"/>
                  </a:moveTo>
                  <a:lnTo>
                    <a:pt x="0" y="13491"/>
                  </a:lnTo>
                  <a:lnTo>
                    <a:pt x="1" y="13491"/>
                  </a:lnTo>
                  <a:lnTo>
                    <a:pt x="2423" y="7715"/>
                  </a:lnTo>
                  <a:lnTo>
                    <a:pt x="24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/>
            </a:p>
          </p:txBody>
        </p:sp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>
              <a:off x="1" y="0"/>
              <a:ext cx="1487454" cy="1772816"/>
            </a:xfrm>
            <a:prstGeom prst="rect">
              <a:avLst/>
            </a:prstGeom>
            <a:solidFill>
              <a:srgbClr val="009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2547" y="7985"/>
            <a:ext cx="9669455" cy="1000189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2544234" y="1825625"/>
            <a:ext cx="8809567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2544232" y="6356353"/>
            <a:ext cx="2743200" cy="365125"/>
          </a:xfrm>
        </p:spPr>
        <p:txBody>
          <a:bodyPr/>
          <a:lstStyle/>
          <a:p>
            <a:fld id="{0D562FD5-D131-4B03-8BFF-80F82A7A1BE9}" type="datetimeFigureOut">
              <a:rPr lang="en-US" smtClean="0"/>
              <a:t>2/2/2020</a:t>
            </a:fld>
            <a:endParaRPr lang="en-US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3"/>
            <a:ext cx="52578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9349" y="116632"/>
            <a:ext cx="1536171" cy="1529606"/>
          </a:xfrm>
        </p:spPr>
        <p:txBody>
          <a:bodyPr/>
          <a:lstStyle>
            <a:lvl1pPr algn="ctr">
              <a:defRPr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91DABAE8-7677-4DF7-B0C9-2FC996954C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733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62FD5-D131-4B03-8BFF-80F82A7A1BE9}" type="datetimeFigureOut">
              <a:rPr lang="en-US" smtClean="0"/>
              <a:t>2/2/2020</a:t>
            </a:fld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73152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19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5B4EF4-E9C9-4359-A93B-798E6D5E8696}" type="datetimeFigureOut">
              <a:rPr lang="en-US"/>
              <a:pPr>
                <a:defRPr/>
              </a:pPr>
              <a:t>2/2/2020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16B1C8-45B6-46FE-B833-55F8E752896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661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6.xml"/><Relationship Id="rId9" Type="http://schemas.openxmlformats.org/officeDocument/2006/relationships/vmlDrawing" Target="../drawings/vmlDrawing2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562FD5-D131-4B03-8BFF-80F82A7A1BE9}" type="datetimeFigureOut">
              <a:rPr lang="en-US" smtClean="0"/>
              <a:t>2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DABAE8-7677-4DF7-B0C9-2FC996954C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004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83" r:id="rId2"/>
    <p:sldLayoutId id="2147483784" r:id="rId3"/>
    <p:sldLayoutId id="2147483785" r:id="rId4"/>
    <p:sldLayoutId id="2147483773" r:id="rId5"/>
    <p:sldLayoutId id="2147483786" r:id="rId6"/>
    <p:sldLayoutId id="2147483787" r:id="rId7"/>
    <p:sldLayoutId id="2147483777" r:id="rId8"/>
    <p:sldLayoutId id="2147483788" r:id="rId9"/>
    <p:sldLayoutId id="2147483804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97CB71-8BC0-4533-A858-33067E07D53D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2/0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Your Footer Goes Here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4786E5-36B4-4750-9BD9-353AA4FBC16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 rot="5400000">
            <a:off x="11604686" y="5799924"/>
            <a:ext cx="1839158" cy="27699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:p14="http://schemas.microsoft.com/office/powerpoint/2010/main" val="754927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</p:sldLayoutIdLst>
  <p:timing>
    <p:tnLst>
      <p:par>
        <p:cTn id="1" dur="indefinite" restart="never" nodeType="tmRoot"/>
      </p:par>
    </p:tnLst>
  </p:timing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5" name="think-cell Slide" r:id="rId11" imgW="377" imgH="377" progId="TCLayout.ActiveDocument.1">
                  <p:embed/>
                </p:oleObj>
              </mc:Choice>
              <mc:Fallback>
                <p:oleObj name="think-cell Slide" r:id="rId11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486835" y="254001"/>
            <a:ext cx="11218333" cy="332399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/>
          <a:p>
            <a:r>
              <a:rPr kumimoji="0" lang="en-US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86836" y="1233487"/>
            <a:ext cx="11218333" cy="5229226"/>
          </a:xfrm>
          <a:prstGeom prst="rect">
            <a:avLst/>
          </a:prstGeom>
        </p:spPr>
        <p:txBody>
          <a:bodyPr vert="horz">
            <a:noAutofit/>
          </a:bodyPr>
          <a:lstStyle/>
          <a:p>
            <a:pPr lvl="0" eaLnBrk="1" latinLnBrk="0" hangingPunct="1"/>
            <a:r>
              <a:rPr kumimoji="0" lang="en-US" dirty="0"/>
              <a:t>Click to edit Master text styles</a:t>
            </a:r>
          </a:p>
          <a:p>
            <a:pPr lvl="1" eaLnBrk="1" latinLnBrk="0" hangingPunct="1"/>
            <a:r>
              <a:rPr kumimoji="0" lang="en-US" dirty="0"/>
              <a:t>Second level</a:t>
            </a:r>
          </a:p>
          <a:p>
            <a:pPr lvl="2" eaLnBrk="1" latinLnBrk="0" hangingPunct="1"/>
            <a:r>
              <a:rPr kumimoji="0" lang="en-US" dirty="0"/>
              <a:t>Third level</a:t>
            </a:r>
          </a:p>
          <a:p>
            <a:pPr lvl="3" eaLnBrk="1" latinLnBrk="0" hangingPunct="1"/>
            <a:r>
              <a:rPr kumimoji="0" lang="en-US" dirty="0"/>
              <a:t>Fourth level</a:t>
            </a:r>
          </a:p>
          <a:p>
            <a:pPr lvl="4" eaLnBrk="1" latinLnBrk="0" hangingPunct="1"/>
            <a:r>
              <a:rPr kumimoji="0"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0646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</p:sldLayoutIdLst>
  <p:txStyles>
    <p:titleStyle>
      <a:lvl1pPr algn="l" rtl="0" eaLnBrk="1" latinLnBrk="0" hangingPunct="1">
        <a:lnSpc>
          <a:spcPct val="90000"/>
        </a:lnSpc>
        <a:spcBef>
          <a:spcPct val="0"/>
        </a:spcBef>
        <a:buNone/>
        <a:defRPr kumimoji="0" sz="2400" b="1" kern="1200">
          <a:ln>
            <a:noFill/>
          </a:ln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Arial" pitchFamily="34" charset="0"/>
        </a:defRPr>
      </a:lvl1pPr>
    </p:titleStyle>
    <p:bodyStyle>
      <a:lvl1pPr marL="240030" indent="-240030" algn="l" rtl="0" eaLnBrk="1" latinLnBrk="0" hangingPunct="1">
        <a:spcBef>
          <a:spcPts val="525"/>
        </a:spcBef>
        <a:buClr>
          <a:schemeClr val="accent2"/>
        </a:buClr>
        <a:buSzPct val="60000"/>
        <a:buFont typeface="Wingdings"/>
        <a:buChar char=""/>
        <a:defRPr kumimoji="0" sz="2100" kern="1200">
          <a:ln>
            <a:noFill/>
          </a:ln>
          <a:solidFill>
            <a:schemeClr val="tx1"/>
          </a:solidFill>
          <a:latin typeface="+mj-lt"/>
          <a:ea typeface="+mn-ea"/>
          <a:cs typeface="+mn-cs"/>
        </a:defRPr>
      </a:lvl1pPr>
      <a:lvl2pPr marL="480060" indent="-205740" algn="l" rtl="0" eaLnBrk="1" latinLnBrk="0" hangingPunct="1">
        <a:spcBef>
          <a:spcPts val="413"/>
        </a:spcBef>
        <a:buClr>
          <a:schemeClr val="accent1"/>
        </a:buClr>
        <a:buSzPct val="70000"/>
        <a:buFont typeface="Wingdings 2"/>
        <a:buChar char=""/>
        <a:defRPr kumimoji="0" sz="1800" kern="1200">
          <a:ln>
            <a:noFill/>
          </a:ln>
          <a:solidFill>
            <a:schemeClr val="tx1"/>
          </a:solidFill>
          <a:latin typeface="+mj-lt"/>
          <a:ea typeface="+mn-ea"/>
          <a:cs typeface="+mn-cs"/>
        </a:defRPr>
      </a:lvl2pPr>
      <a:lvl3pPr marL="685800" indent="-171450" algn="l" rtl="0" eaLnBrk="1" latinLnBrk="0" hangingPunct="1">
        <a:spcBef>
          <a:spcPts val="375"/>
        </a:spcBef>
        <a:buClr>
          <a:schemeClr val="accent2"/>
        </a:buClr>
        <a:buSzPct val="75000"/>
        <a:buFont typeface="Wingdings"/>
        <a:buChar char=""/>
        <a:defRPr kumimoji="0" sz="1500" kern="1200">
          <a:ln>
            <a:noFill/>
          </a:ln>
          <a:solidFill>
            <a:schemeClr val="tx1"/>
          </a:solidFill>
          <a:latin typeface="+mj-lt"/>
          <a:ea typeface="+mn-ea"/>
          <a:cs typeface="+mn-cs"/>
        </a:defRPr>
      </a:lvl3pPr>
      <a:lvl4pPr marL="1028700" indent="-171450" algn="l" rtl="0" eaLnBrk="1" latinLnBrk="0" hangingPunct="1">
        <a:spcBef>
          <a:spcPts val="300"/>
        </a:spcBef>
        <a:buClr>
          <a:schemeClr val="accent3"/>
        </a:buClr>
        <a:buSzPct val="75000"/>
        <a:buFont typeface="Wingdings"/>
        <a:buChar char=""/>
        <a:defRPr kumimoji="0" sz="1350" kern="1200">
          <a:ln>
            <a:noFill/>
          </a:ln>
          <a:solidFill>
            <a:schemeClr val="tx1"/>
          </a:solidFill>
          <a:latin typeface="+mj-lt"/>
          <a:ea typeface="+mn-ea"/>
          <a:cs typeface="+mn-cs"/>
        </a:defRPr>
      </a:lvl4pPr>
      <a:lvl5pPr marL="1371600" indent="-171450" algn="l" rtl="0" eaLnBrk="1" latinLnBrk="0" hangingPunct="1">
        <a:spcBef>
          <a:spcPts val="300"/>
        </a:spcBef>
        <a:buClr>
          <a:schemeClr val="accent4"/>
        </a:buClr>
        <a:buSzPct val="65000"/>
        <a:buFont typeface="Wingdings"/>
        <a:buChar char=""/>
        <a:defRPr kumimoji="0" sz="1350" kern="1200">
          <a:ln>
            <a:noFill/>
          </a:ln>
          <a:solidFill>
            <a:schemeClr val="tx1"/>
          </a:solidFill>
          <a:latin typeface="+mj-lt"/>
          <a:ea typeface="+mn-ea"/>
          <a:cs typeface="+mn-cs"/>
        </a:defRPr>
      </a:lvl5pPr>
      <a:lvl6pPr marL="1577340" indent="-17145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35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83080" indent="-17145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35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88820" indent="-17145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3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194560" indent="-17145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3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562FD5-D131-4B03-8BFF-80F82A7A1BE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DABAE8-7677-4DF7-B0C9-2FC996954C4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757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5" r:id="rId9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562FD5-D131-4B03-8BFF-80F82A7A1BE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DABAE8-7677-4DF7-B0C9-2FC996954C4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906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pPr defTabSz="457200"/>
            <a:fld id="{5DC5B261-8843-42D1-AAFC-05E20E2D9B97}" type="datetimeFigureOut">
              <a:rPr lang="en-US" dirty="0"/>
              <a:pPr defTabSz="457200"/>
              <a:t>2/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pPr defTabSz="45720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pPr defTabSz="457200"/>
            <a:fld id="{4FAB73BC-B049-4115-A692-8D63A059BFB8}" type="slidenum">
              <a:rPr lang="en-US" dirty="0"/>
              <a:pPr defTabSz="457200"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14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17.xml"/><Relationship Id="rId7" Type="http://schemas.openxmlformats.org/officeDocument/2006/relationships/diagramData" Target="../diagrams/data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12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17.xml"/><Relationship Id="rId7" Type="http://schemas.openxmlformats.org/officeDocument/2006/relationships/diagramData" Target="../diagrams/data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13.bin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17.xml"/><Relationship Id="rId7" Type="http://schemas.openxmlformats.org/officeDocument/2006/relationships/diagramData" Target="../diagrams/data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14.bin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4.xml"/><Relationship Id="rId9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slideLayout" Target="../slideLayouts/slideLayout17.xml"/><Relationship Id="rId7" Type="http://schemas.openxmlformats.org/officeDocument/2006/relationships/diagramData" Target="../diagrams/data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15.bin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slideLayout" Target="../slideLayouts/slideLayout17.xml"/><Relationship Id="rId7" Type="http://schemas.openxmlformats.org/officeDocument/2006/relationships/diagramData" Target="../diagrams/data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microsoft.com/office/2007/relationships/diagramDrawing" Target="../diagrams/drawing6.xml"/><Relationship Id="rId5" Type="http://schemas.openxmlformats.org/officeDocument/2006/relationships/oleObject" Target="../embeddings/oleObject16.bin"/><Relationship Id="rId10" Type="http://schemas.openxmlformats.org/officeDocument/2006/relationships/diagramColors" Target="../diagrams/colors6.xml"/><Relationship Id="rId4" Type="http://schemas.openxmlformats.org/officeDocument/2006/relationships/notesSlide" Target="../notesSlides/notesSlide6.xml"/><Relationship Id="rId9" Type="http://schemas.openxmlformats.org/officeDocument/2006/relationships/diagramQuickStyle" Target="../diagrams/quickStyle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slideLayout" Target="../slideLayouts/slideLayout17.xml"/><Relationship Id="rId7" Type="http://schemas.openxmlformats.org/officeDocument/2006/relationships/diagramData" Target="../diagrams/data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microsoft.com/office/2007/relationships/diagramDrawing" Target="../diagrams/drawing7.xml"/><Relationship Id="rId5" Type="http://schemas.openxmlformats.org/officeDocument/2006/relationships/oleObject" Target="../embeddings/oleObject18.bin"/><Relationship Id="rId10" Type="http://schemas.openxmlformats.org/officeDocument/2006/relationships/diagramColors" Target="../diagrams/colors7.xml"/><Relationship Id="rId4" Type="http://schemas.openxmlformats.org/officeDocument/2006/relationships/notesSlide" Target="../notesSlides/notesSlide8.xml"/><Relationship Id="rId9" Type="http://schemas.openxmlformats.org/officeDocument/2006/relationships/diagramQuickStyle" Target="../diagrams/quickStyle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7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0.png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9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17.xml"/><Relationship Id="rId7" Type="http://schemas.openxmlformats.org/officeDocument/2006/relationships/oleObject" Target="../embeddings/oleObject24.bin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17.xml"/><Relationship Id="rId7" Type="http://schemas.openxmlformats.org/officeDocument/2006/relationships/oleObject" Target="../embeddings/oleObject29.bin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package11.package"/><Relationship Id="rId3" Type="http://schemas.openxmlformats.org/officeDocument/2006/relationships/slideLayout" Target="../slideLayouts/slideLayout17.xml"/><Relationship Id="rId7" Type="http://schemas.openxmlformats.org/officeDocument/2006/relationships/oleObject" Target="../embeddings/oleObject31.bin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5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66733" y="1715142"/>
            <a:ext cx="1072919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fa-IR" sz="5400" dirty="0" smtClean="0">
              <a:solidFill>
                <a:srgbClr val="7030A0"/>
              </a:solidFill>
              <a:latin typeface="IranNastaliq" panose="02020505000000020003" pitchFamily="18" charset="0"/>
              <a:cs typeface="IranNastaliq" panose="02020505000000020003" pitchFamily="18" charset="0"/>
            </a:endParaRPr>
          </a:p>
          <a:p>
            <a:pPr algn="ctr"/>
            <a:r>
              <a:rPr lang="fa-IR" sz="5400" dirty="0" smtClean="0">
                <a:solidFill>
                  <a:srgbClr val="7030A0"/>
                </a:solidFill>
                <a:latin typeface="IranNastaliq" panose="02020505000000020003" pitchFamily="18" charset="0"/>
                <a:cs typeface="IranNastaliq" panose="02020505000000020003" pitchFamily="18" charset="0"/>
              </a:rPr>
              <a:t>به نام آنکه جان را فکرت آموخت</a:t>
            </a:r>
            <a:endParaRPr lang="en-US" sz="5400" dirty="0">
              <a:solidFill>
                <a:srgbClr val="7030A0"/>
              </a:solidFill>
              <a:latin typeface="IranNastaliq" panose="02020505000000020003" pitchFamily="18" charset="0"/>
              <a:cs typeface="IranNastaliq" panose="020205050000000200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4820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22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2"/>
          <p:cNvSpPr txBox="1">
            <a:spLocks/>
          </p:cNvSpPr>
          <p:nvPr/>
        </p:nvSpPr>
        <p:spPr>
          <a:xfrm>
            <a:off x="839416" y="124555"/>
            <a:ext cx="10441160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مدل </a:t>
            </a:r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آمادگی مؤسسۀ بين‌المللی مک‌کانل</a:t>
            </a:r>
            <a:r>
              <a:rPr lang="en-US" sz="2800" b="1" dirty="0" smtClean="0">
                <a:solidFill>
                  <a:srgbClr val="FFFF2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2800" b="1" dirty="0" err="1" smtClean="0">
                <a:solidFill>
                  <a:srgbClr val="FFFF2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cConel</a:t>
            </a:r>
            <a:r>
              <a:rPr lang="en-US" sz="2800" b="1" dirty="0" smtClean="0">
                <a:solidFill>
                  <a:srgbClr val="FFFF2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2800" b="1" dirty="0">
              <a:solidFill>
                <a:srgbClr val="FFFF2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6" name="Diagram 35"/>
          <p:cNvGraphicFramePr/>
          <p:nvPr>
            <p:extLst>
              <p:ext uri="{D42A27DB-BD31-4B8C-83A1-F6EECF244321}">
                <p14:modId xmlns:p14="http://schemas.microsoft.com/office/powerpoint/2010/main" val="90165513"/>
              </p:ext>
            </p:extLst>
          </p:nvPr>
        </p:nvGraphicFramePr>
        <p:xfrm>
          <a:off x="-1248816" y="805897"/>
          <a:ext cx="8704064" cy="57066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extBox 3"/>
          <p:cNvSpPr txBox="1">
            <a:spLocks noChangeArrowheads="1"/>
          </p:cNvSpPr>
          <p:nvPr/>
        </p:nvSpPr>
        <p:spPr bwMode="auto">
          <a:xfrm>
            <a:off x="6091572" y="1116670"/>
            <a:ext cx="5904656" cy="5459187"/>
          </a:xfrm>
          <a:prstGeom prst="rect">
            <a:avLst/>
          </a:prstGeom>
          <a:solidFill>
            <a:schemeClr val="bg1"/>
          </a:solidFill>
          <a:ln w="57150">
            <a:solidFill>
              <a:srgbClr val="00206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نوع و سطح </a:t>
            </a:r>
            <a:r>
              <a:rPr lang="en-US" altLang="en-US" b="1" dirty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:</a:t>
            </a: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دل عام در سطح کلان (ملی)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بنیانگذار </a:t>
            </a:r>
            <a:r>
              <a:rPr lang="en-US" altLang="en-US" b="1" dirty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:</a:t>
            </a: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«موسسۀ بین‌المللی مک‌کانل» با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همکاری «اتحادیه جهانی فنّاوری اطلاعات» </a:t>
            </a:r>
            <a:endParaRPr lang="fa-IR" altLang="en-US" b="1" dirty="0" smtClean="0">
              <a:solidFill>
                <a:srgbClr val="033849"/>
              </a:solidFill>
              <a:latin typeface="Calibri" panose="020F0502020204030204" pitchFamily="34" charset="0"/>
              <a:cs typeface="B Titr"/>
            </a:endParaRP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سال ارائه </a:t>
            </a:r>
            <a:r>
              <a:rPr lang="en-US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 </a:t>
            </a: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2000 میلادی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تأکید اصلی </a:t>
            </a:r>
            <a:r>
              <a:rPr lang="en-US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 </a:t>
            </a:r>
            <a:endParaRPr lang="fa-IR" altLang="en-US" b="1" dirty="0">
              <a:solidFill>
                <a:schemeClr val="accent4"/>
              </a:solidFill>
              <a:latin typeface="Calibri" panose="020F0502020204030204" pitchFamily="34" charset="0"/>
              <a:cs typeface="B Titr"/>
            </a:endParaRP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«کشوری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دارای آمادگی الکترونیکی است که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درسطح وسیعتری در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دارس، مؤسسات آموزشی،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بنگاهها،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دولت و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خانواده‌ها ار رایانه استفاده می‌شود»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نقطه ضعف  </a:t>
            </a:r>
          </a:p>
          <a:p>
            <a:pPr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مرکز بیشتر بر جنبه‌های فناورانة سخت آمادگی الکترونیکی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نقطه قوت 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امکان ارزيابي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آمادگي الکترونيکي هر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کشور از منظر شاخص‌ها و سنجه‌های مختلف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10992544" y="95413"/>
            <a:ext cx="702777" cy="702962"/>
            <a:chOff x="2570822" y="2884367"/>
            <a:chExt cx="702777" cy="70296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1" name="Teardrop 10"/>
            <p:cNvSpPr/>
            <p:nvPr/>
          </p:nvSpPr>
          <p:spPr bwMode="auto">
            <a:xfrm rot="8100000">
              <a:off x="2570822" y="2884367"/>
              <a:ext cx="702777" cy="702962"/>
            </a:xfrm>
            <a:prstGeom prst="teardrop">
              <a:avLst/>
            </a:prstGeom>
            <a:solidFill>
              <a:srgbClr val="FFFF2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en-US"/>
              </a:defPPr>
              <a:lvl1pPr marL="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91421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828434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742651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3656868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4571086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5485303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639952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731373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2651438" y="2965076"/>
              <a:ext cx="541544" cy="54154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a-IR" sz="2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33849"/>
                  </a:solidFill>
                  <a:effectLst/>
                  <a:uLnTx/>
                  <a:uFillTx/>
                  <a:latin typeface="FontAwesome" pitchFamily="2" charset="0"/>
                  <a:ea typeface="+mn-ea"/>
                  <a:cs typeface="B Titr" panose="00000700000000000000" pitchFamily="2" charset="-78"/>
                </a:rPr>
                <a:t>1</a:t>
              </a: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33849"/>
                </a:solidFill>
                <a:effectLst/>
                <a:uLnTx/>
                <a:uFillTx/>
                <a:latin typeface="FontAwesome" pitchFamily="2" charset="0"/>
                <a:ea typeface="+mn-ea"/>
                <a:cs typeface="B Titr" panose="00000700000000000000" pitchFamily="2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6875551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6" grpId="0">
        <p:bldAsOne/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1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2"/>
          <p:cNvSpPr txBox="1">
            <a:spLocks/>
          </p:cNvSpPr>
          <p:nvPr/>
        </p:nvSpPr>
        <p:spPr>
          <a:xfrm>
            <a:off x="695400" y="260648"/>
            <a:ext cx="10873208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مدل </a:t>
            </a:r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ارزیابی آمادگی الکترونیکی ویتسا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j-ea"/>
              <a:cs typeface="B Titr" panose="00000700000000000000" pitchFamily="2" charset="-78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923042544"/>
              </p:ext>
            </p:extLst>
          </p:nvPr>
        </p:nvGraphicFramePr>
        <p:xfrm>
          <a:off x="-1464840" y="960084"/>
          <a:ext cx="9073008" cy="57787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6091572" y="1116670"/>
            <a:ext cx="5904656" cy="5078313"/>
          </a:xfrm>
          <a:prstGeom prst="rect">
            <a:avLst/>
          </a:prstGeom>
          <a:solidFill>
            <a:schemeClr val="bg1"/>
          </a:solidFill>
          <a:ln w="57150">
            <a:solidFill>
              <a:srgbClr val="00206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نوع و سطح </a:t>
            </a:r>
            <a:r>
              <a:rPr lang="en-US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 </a:t>
            </a: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دل عام در سطح خرد (سازمان)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بنیانگذار</a:t>
            </a:r>
            <a:r>
              <a:rPr lang="en-US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 </a:t>
            </a: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«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اتحادیه جهانی فنّاوری اطلاعات» </a:t>
            </a:r>
            <a:endParaRPr lang="fa-IR" altLang="en-US" b="1" dirty="0" smtClean="0">
              <a:solidFill>
                <a:srgbClr val="033849"/>
              </a:solidFill>
              <a:latin typeface="Calibri" panose="020F0502020204030204" pitchFamily="34" charset="0"/>
              <a:cs typeface="B Titr"/>
            </a:endParaRP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سال ارائه </a:t>
            </a:r>
            <a:r>
              <a:rPr lang="en-US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 </a:t>
            </a: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2000 میلادی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تأکید اصلی </a:t>
            </a:r>
            <a:r>
              <a:rPr lang="en-US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 </a:t>
            </a:r>
            <a:endParaRPr lang="fa-IR" altLang="en-US" b="1" dirty="0">
              <a:solidFill>
                <a:schemeClr val="accent4"/>
              </a:solidFill>
              <a:latin typeface="Calibri" panose="020F0502020204030204" pitchFamily="34" charset="0"/>
              <a:cs typeface="B Titr"/>
            </a:endParaRP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«مطالعة مشکلات و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هدیدهای فناورانه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ؤسسات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و بنگاهها در حوزة فنّاوری اطلاعات و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یافتن راه حلی برای آنان»</a:t>
            </a:r>
            <a:endParaRPr lang="fa-IR" altLang="en-US" b="1" dirty="0" smtClean="0">
              <a:solidFill>
                <a:srgbClr val="033849"/>
              </a:solidFill>
              <a:latin typeface="Calibri" panose="020F0502020204030204" pitchFamily="34" charset="0"/>
              <a:cs typeface="B Titr"/>
            </a:endParaRP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نقطه ضعف  </a:t>
            </a:r>
          </a:p>
          <a:p>
            <a:pPr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مرکز صرف بر جنبه‌های   نرم آمادگی الکترونیکی( منابع انسانی و منابع مالی)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chemeClr val="accent4"/>
                </a:solidFill>
                <a:latin typeface="Calibri" panose="020F0502020204030204" pitchFamily="34" charset="0"/>
                <a:cs typeface="B Titr"/>
              </a:rPr>
              <a:t>نقطه قوت 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در نظر گرفتن شاخص‌های ارزیابی آمادگي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الکترونيکي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ؤسسه از منظر محیط بیرونی و محیط درونی آن 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0910624" y="93971"/>
            <a:ext cx="702777" cy="702962"/>
            <a:chOff x="2570822" y="2884367"/>
            <a:chExt cx="702777" cy="70296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7" name="Teardrop 6"/>
            <p:cNvSpPr/>
            <p:nvPr/>
          </p:nvSpPr>
          <p:spPr bwMode="auto">
            <a:xfrm rot="8100000">
              <a:off x="2570822" y="2884367"/>
              <a:ext cx="702777" cy="702962"/>
            </a:xfrm>
            <a:prstGeom prst="teardrop">
              <a:avLst/>
            </a:prstGeom>
            <a:solidFill>
              <a:srgbClr val="FFFF2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en-US"/>
              </a:defPPr>
              <a:lvl1pPr marL="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91421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828434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742651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3656868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4571086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5485303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639952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731373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651438" y="2965076"/>
              <a:ext cx="541544" cy="54154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a-IR" sz="2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33849"/>
                  </a:solidFill>
                  <a:effectLst/>
                  <a:uLnTx/>
                  <a:uFillTx/>
                  <a:latin typeface="FontAwesome" pitchFamily="2" charset="0"/>
                  <a:ea typeface="+mn-ea"/>
                  <a:cs typeface="B Titr" panose="00000700000000000000" pitchFamily="2" charset="-78"/>
                </a:rPr>
                <a:t>2</a:t>
              </a: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33849"/>
                </a:solidFill>
                <a:effectLst/>
                <a:uLnTx/>
                <a:uFillTx/>
                <a:latin typeface="FontAwesome" pitchFamily="2" charset="0"/>
                <a:ea typeface="+mn-ea"/>
                <a:cs typeface="B Titr" panose="00000700000000000000" pitchFamily="2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1962549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80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2"/>
          <p:cNvSpPr txBox="1">
            <a:spLocks/>
          </p:cNvSpPr>
          <p:nvPr/>
        </p:nvSpPr>
        <p:spPr>
          <a:xfrm>
            <a:off x="551384" y="156575"/>
            <a:ext cx="10873208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مدل </a:t>
            </a:r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ارزیابی آمادگي </a:t>
            </a:r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یادگیری الكترونيكي رُزنبرگ</a:t>
            </a:r>
            <a:endParaRPr lang="en-US" sz="3200" dirty="0">
              <a:solidFill>
                <a:srgbClr val="FFFF2F"/>
              </a:solidFill>
              <a:cs typeface="B Titr" panose="00000700000000000000" pitchFamily="2" charset="-78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637474126"/>
              </p:ext>
            </p:extLst>
          </p:nvPr>
        </p:nvGraphicFramePr>
        <p:xfrm>
          <a:off x="-1464840" y="960084"/>
          <a:ext cx="9073008" cy="57787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6132004" y="1382996"/>
            <a:ext cx="5828220" cy="4662815"/>
          </a:xfrm>
          <a:prstGeom prst="rect">
            <a:avLst/>
          </a:prstGeom>
          <a:solidFill>
            <a:schemeClr val="bg1"/>
          </a:solidFill>
          <a:ln w="57150">
            <a:solidFill>
              <a:srgbClr val="00206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وع و سطح 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دل خاص در سطح خرد (سازمان)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بنیانگذار </a:t>
            </a: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رُزنبرگ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سال ارائه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2001 میلادی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تأکید اصلی 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«استفاده از روش‌های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جديد آموزش و یادگیری در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سازمان‌ها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و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بهره‌مندی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از تجربيات پيشين با آموزش بر پايه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فنّاوري اطلاعات»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ضعف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مرکز صرف بر جنبه‌های نَرم آمادگی یادگیری الکترونیکی 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قوت 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مرکز ویژه بر جنبه‌های مختلف آمادگی منابع انسانی و بازساختاردهی آموزشی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1073203" y="57780"/>
            <a:ext cx="702777" cy="702962"/>
            <a:chOff x="2570822" y="2884367"/>
            <a:chExt cx="702777" cy="70296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7" name="Teardrop 6"/>
            <p:cNvSpPr/>
            <p:nvPr/>
          </p:nvSpPr>
          <p:spPr bwMode="auto">
            <a:xfrm rot="8100000">
              <a:off x="2570822" y="2884367"/>
              <a:ext cx="702777" cy="702962"/>
            </a:xfrm>
            <a:prstGeom prst="teardrop">
              <a:avLst/>
            </a:prstGeom>
            <a:solidFill>
              <a:srgbClr val="FFFF2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en-US"/>
              </a:defPPr>
              <a:lvl1pPr marL="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91421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828434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742651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3656868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4571086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5485303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639952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731373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800" dirty="0">
                <a:solidFill>
                  <a:prstClr val="white"/>
                </a:solidFill>
                <a:latin typeface="Lato Light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651438" y="2965076"/>
              <a:ext cx="541544" cy="54154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rtl="1"/>
              <a:r>
                <a:rPr lang="fa-IR" sz="2400" kern="0" dirty="0" smtClean="0">
                  <a:solidFill>
                    <a:srgbClr val="033849"/>
                  </a:solidFill>
                  <a:latin typeface="FontAwesome" pitchFamily="2" charset="0"/>
                  <a:cs typeface="B Titr" panose="00000700000000000000" pitchFamily="2" charset="-78"/>
                </a:rPr>
                <a:t>3</a:t>
              </a:r>
              <a:endParaRPr lang="en-US" sz="2400" kern="0" dirty="0" smtClean="0">
                <a:solidFill>
                  <a:srgbClr val="033849"/>
                </a:solidFill>
                <a:latin typeface="FontAwesome" pitchFamily="2" charset="0"/>
                <a:cs typeface="B Titr" panose="00000700000000000000" pitchFamily="2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51635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4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2"/>
          <p:cNvSpPr txBox="1">
            <a:spLocks/>
          </p:cNvSpPr>
          <p:nvPr/>
        </p:nvSpPr>
        <p:spPr>
          <a:xfrm>
            <a:off x="551384" y="156575"/>
            <a:ext cx="10873208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مدل </a:t>
            </a:r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ارزیابی آمادگي </a:t>
            </a:r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یادگیری الكترونيكي </a:t>
            </a:r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اندرسون</a:t>
            </a:r>
            <a:endParaRPr lang="en-US" sz="3200" dirty="0">
              <a:solidFill>
                <a:srgbClr val="FFFF2F"/>
              </a:solidFill>
              <a:cs typeface="B Titr" panose="00000700000000000000" pitchFamily="2" charset="-78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000040658"/>
              </p:ext>
            </p:extLst>
          </p:nvPr>
        </p:nvGraphicFramePr>
        <p:xfrm>
          <a:off x="-1464840" y="960084"/>
          <a:ext cx="9073008" cy="57787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6132004" y="1382996"/>
            <a:ext cx="5828220" cy="4662815"/>
          </a:xfrm>
          <a:prstGeom prst="rect">
            <a:avLst/>
          </a:prstGeom>
          <a:solidFill>
            <a:schemeClr val="bg1"/>
          </a:solidFill>
          <a:ln w="57150">
            <a:solidFill>
              <a:srgbClr val="00206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وع و سطح 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دل خاص در سطح خرد (سازمان)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بنیانگذار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اندرسون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سال ارائه 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2002 میلادی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تأکید اصلی 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«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یادگیری الکترونیکی عامل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هدایت‌گر شرکت‌ها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و رشد صنعت در زمینۀ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یادگیری است»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ضعف  </a:t>
            </a:r>
          </a:p>
          <a:p>
            <a:pPr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عدم ارائه سنجه‌های مناسب برای ارزیابی شاخص‌های مدل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قوت 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مرکز ویژه بر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آمادگی محتوای الکترونیکی و نقش یادگیرندگان در توسعة یادگیری الکترونیکی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1073203" y="54503"/>
            <a:ext cx="702777" cy="702962"/>
            <a:chOff x="2570822" y="2884367"/>
            <a:chExt cx="702777" cy="70296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7" name="Teardrop 6"/>
            <p:cNvSpPr/>
            <p:nvPr/>
          </p:nvSpPr>
          <p:spPr bwMode="auto">
            <a:xfrm rot="8100000">
              <a:off x="2570822" y="2884367"/>
              <a:ext cx="702777" cy="702962"/>
            </a:xfrm>
            <a:prstGeom prst="teardrop">
              <a:avLst/>
            </a:prstGeom>
            <a:solidFill>
              <a:srgbClr val="FFFF2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en-US"/>
              </a:defPPr>
              <a:lvl1pPr marL="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91421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828434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742651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3656868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4571086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5485303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639952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731373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800" dirty="0">
                <a:solidFill>
                  <a:prstClr val="white"/>
                </a:solidFill>
                <a:latin typeface="Lato Light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651438" y="2965076"/>
              <a:ext cx="541544" cy="54154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rtl="1"/>
              <a:r>
                <a:rPr lang="fa-IR" sz="2400" kern="0" dirty="0" smtClean="0">
                  <a:solidFill>
                    <a:srgbClr val="033849"/>
                  </a:solidFill>
                  <a:latin typeface="FontAwesome" pitchFamily="2" charset="0"/>
                  <a:cs typeface="B Titr" panose="00000700000000000000" pitchFamily="2" charset="-78"/>
                </a:rPr>
                <a:t>4</a:t>
              </a:r>
              <a:endParaRPr lang="en-US" sz="2400" kern="0" dirty="0" smtClean="0">
                <a:solidFill>
                  <a:srgbClr val="033849"/>
                </a:solidFill>
                <a:latin typeface="FontAwesome" pitchFamily="2" charset="0"/>
                <a:cs typeface="B Titr" panose="00000700000000000000" pitchFamily="2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4994384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3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2"/>
          <p:cNvSpPr txBox="1">
            <a:spLocks/>
          </p:cNvSpPr>
          <p:nvPr/>
        </p:nvSpPr>
        <p:spPr>
          <a:xfrm>
            <a:off x="335360" y="9289"/>
            <a:ext cx="10873208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مدل </a:t>
            </a:r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 دستيابي </a:t>
            </a:r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به يادگيري الكترونيكي </a:t>
            </a:r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چپ‌نیک</a:t>
            </a:r>
            <a:endParaRPr lang="en-US" sz="3200" dirty="0">
              <a:solidFill>
                <a:srgbClr val="FFFF2F"/>
              </a:solidFill>
              <a:cs typeface="B Titr" panose="00000700000000000000" pitchFamily="2" charset="-78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010261"/>
              </p:ext>
            </p:extLst>
          </p:nvPr>
        </p:nvGraphicFramePr>
        <p:xfrm>
          <a:off x="-1680864" y="823717"/>
          <a:ext cx="10369152" cy="59740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7104112" y="1382996"/>
            <a:ext cx="4856112" cy="4662815"/>
          </a:xfrm>
          <a:prstGeom prst="rect">
            <a:avLst/>
          </a:prstGeom>
          <a:solidFill>
            <a:schemeClr val="bg1"/>
          </a:solidFill>
          <a:ln w="57150">
            <a:solidFill>
              <a:srgbClr val="00206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وع و سطح 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دل خاص در سطح خرد (سازمان)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بنیانگذار </a:t>
            </a: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چاپ‌نیک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سال ارائه 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2005 میلادی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تأکید اصلی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«جنبه‌هاي فردی و ميان‌فردي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حيط اجراي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برنامه آموزش الکترونیکی در موفقیت آن بسیار مهم است»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ضعف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عدم توجه به عامل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آمادگی سیاست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نسبت به مدل‌های پیشین 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قوت 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مرکز ویژه بر جنبه‌های مختلف آمادگی منابع انسانی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(یادگیرندگان، یاددهندگان و برنامه‌ريزان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)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1115323" y="145522"/>
            <a:ext cx="702777" cy="702962"/>
            <a:chOff x="3485689" y="2875077"/>
            <a:chExt cx="702777" cy="70296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7" name="Teardrop 6"/>
            <p:cNvSpPr/>
            <p:nvPr/>
          </p:nvSpPr>
          <p:spPr bwMode="auto">
            <a:xfrm rot="8100000">
              <a:off x="3485689" y="2875077"/>
              <a:ext cx="702777" cy="702962"/>
            </a:xfrm>
            <a:prstGeom prst="teardrop">
              <a:avLst/>
            </a:prstGeom>
            <a:solidFill>
              <a:srgbClr val="FFFF2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en-US"/>
              </a:defPPr>
              <a:lvl1pPr marL="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91421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828434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742651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3656868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4571086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5485303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639952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731373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800" dirty="0">
                <a:solidFill>
                  <a:prstClr val="white"/>
                </a:solidFill>
                <a:latin typeface="Lato Light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3578934" y="2955786"/>
              <a:ext cx="541544" cy="54154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rtl="1"/>
              <a:r>
                <a:rPr lang="fa-IR" sz="2400" kern="0" dirty="0" smtClean="0">
                  <a:solidFill>
                    <a:srgbClr val="033849"/>
                  </a:solidFill>
                  <a:latin typeface="FontAwesome" pitchFamily="2" charset="0"/>
                  <a:cs typeface="B Titr" panose="00000700000000000000" pitchFamily="2" charset="-78"/>
                </a:rPr>
                <a:t>5</a:t>
              </a:r>
              <a:endParaRPr lang="en-US" sz="2400" kern="0" dirty="0" smtClean="0">
                <a:solidFill>
                  <a:srgbClr val="033849"/>
                </a:solidFill>
                <a:latin typeface="FontAwesome" pitchFamily="2" charset="0"/>
                <a:cs typeface="B Titr" panose="00000700000000000000" pitchFamily="2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7727007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8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2"/>
          <p:cNvSpPr txBox="1">
            <a:spLocks/>
          </p:cNvSpPr>
          <p:nvPr/>
        </p:nvSpPr>
        <p:spPr>
          <a:xfrm>
            <a:off x="695400" y="260648"/>
            <a:ext cx="10873208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مدل آمادگي يادگيري الكترونيكي آیدین </a:t>
            </a:r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 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j-ea"/>
              <a:cs typeface="B Titr" panose="00000700000000000000" pitchFamily="2" charset="-78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5372094"/>
              </p:ext>
            </p:extLst>
          </p:nvPr>
        </p:nvGraphicFramePr>
        <p:xfrm>
          <a:off x="191344" y="1406360"/>
          <a:ext cx="6120680" cy="5289372"/>
        </p:xfrm>
        <a:graphic>
          <a:graphicData uri="http://schemas.openxmlformats.org/drawingml/2006/table">
            <a:tbl>
              <a:tblPr rtl="1" firstRow="1" firstCol="1" lastRow="1" lastCol="1" bandRow="1" bandCol="1"/>
              <a:tblGrid>
                <a:gridCol w="1861325">
                  <a:extLst>
                    <a:ext uri="{9D8B030D-6E8A-4147-A177-3AD203B41FA5}">
                      <a16:colId xmlns:a16="http://schemas.microsoft.com/office/drawing/2014/main" xmlns="" val="360769227"/>
                    </a:ext>
                  </a:extLst>
                </a:gridCol>
                <a:gridCol w="1431278">
                  <a:extLst>
                    <a:ext uri="{9D8B030D-6E8A-4147-A177-3AD203B41FA5}">
                      <a16:colId xmlns:a16="http://schemas.microsoft.com/office/drawing/2014/main" xmlns="" val="1579610635"/>
                    </a:ext>
                  </a:extLst>
                </a:gridCol>
                <a:gridCol w="1503211">
                  <a:extLst>
                    <a:ext uri="{9D8B030D-6E8A-4147-A177-3AD203B41FA5}">
                      <a16:colId xmlns:a16="http://schemas.microsoft.com/office/drawing/2014/main" xmlns="" val="3832618725"/>
                    </a:ext>
                  </a:extLst>
                </a:gridCol>
                <a:gridCol w="1324866">
                  <a:extLst>
                    <a:ext uri="{9D8B030D-6E8A-4147-A177-3AD203B41FA5}">
                      <a16:colId xmlns:a16="http://schemas.microsoft.com/office/drawing/2014/main" xmlns="" val="4153279742"/>
                    </a:ext>
                  </a:extLst>
                </a:gridCol>
              </a:tblGrid>
              <a:tr h="562528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سطح مورد بررسی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2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نابع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2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هارت‌ها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2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نگرش‌ها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80142701"/>
                  </a:ext>
                </a:extLst>
              </a:tr>
              <a:tr h="814875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فنّاوري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دسترسی به رایانه و اينترنت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توانايي براي استفاده از رایانه و اينترنت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نگرش مثبت به استفاده از فنّاوري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81557143"/>
                  </a:ext>
                </a:extLst>
              </a:tr>
              <a:tr h="677110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نوآوري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استانداردهای نوآوری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توانايي نطبیق با نوآوري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باز بودن براي پذیرش نوآوری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99903520"/>
                  </a:ext>
                </a:extLst>
              </a:tr>
              <a:tr h="2531376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نابع انسانی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00050" marR="0" lvl="0" indent="-28575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imes New Roman" panose="02020603050405020304" pitchFamily="18" charset="0"/>
                        <a:buChar char="-"/>
                        <a:tabLst>
                          <a:tab pos="245745" algn="l"/>
                          <a:tab pos="498475" algn="l"/>
                        </a:tabLs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MS Mincho"/>
                          <a:cs typeface="B Zar" panose="00000400000000000000" pitchFamily="2" charset="-78"/>
                        </a:rPr>
                        <a:t>كاركنان آموزش ديده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MS Mincho"/>
                        <a:cs typeface="Lotus"/>
                      </a:endParaRPr>
                    </a:p>
                    <a:p>
                      <a:pPr marL="400050" marR="0" lvl="0" indent="-28575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imes New Roman" panose="02020603050405020304" pitchFamily="18" charset="0"/>
                        <a:buChar char="-"/>
                        <a:tabLst>
                          <a:tab pos="245745" algn="l"/>
                          <a:tab pos="498475" algn="l"/>
                        </a:tabLs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MS Mincho"/>
                          <a:cs typeface="B Zar" panose="00000400000000000000" pitchFamily="2" charset="-78"/>
                        </a:rPr>
                        <a:t>متخصصان با تجربه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MS Mincho"/>
                        <a:cs typeface="Lotus"/>
                      </a:endParaRPr>
                    </a:p>
                    <a:p>
                      <a:pPr marL="400050" marR="0" lvl="0" indent="-28575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imes New Roman" panose="02020603050405020304" pitchFamily="18" charset="0"/>
                        <a:buChar char="-"/>
                        <a:tabLst>
                          <a:tab pos="245745" algn="l"/>
                          <a:tab pos="498475" algn="l"/>
                        </a:tabLs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MS Mincho"/>
                          <a:cs typeface="B Zar" panose="00000400000000000000" pitchFamily="2" charset="-78"/>
                        </a:rPr>
                        <a:t>تأمین‌کنندگان معتبر و شرکای خارجی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MS Mincho"/>
                        <a:cs typeface="Lotu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توانايي يادگیری به کمک فنّاوري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-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0720966"/>
                  </a:ext>
                </a:extLst>
              </a:tr>
              <a:tr h="677110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آموزش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بودجه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توانايي مديريت زمان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باور نسبت به خودآموزی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35572528"/>
                  </a:ext>
                </a:extLst>
              </a:tr>
            </a:tbl>
          </a:graphicData>
        </a:graphic>
      </p:graphicFrame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6384032" y="1382996"/>
            <a:ext cx="5576192" cy="4985980"/>
          </a:xfrm>
          <a:prstGeom prst="rect">
            <a:avLst/>
          </a:prstGeom>
          <a:solidFill>
            <a:schemeClr val="bg1"/>
          </a:solidFill>
          <a:ln w="57150">
            <a:solidFill>
              <a:srgbClr val="00206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وع و سطح مدل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دل خاص در سطح خرد (سازمان)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بنیانگذار </a:t>
            </a: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آیدین و تسکی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سال ارائه 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2005 میلادی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تأکید اصلی 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«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دیران، کارکنان و دانشجویان گروه‌های اصلی هستند که باعث پیشرفت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آموزش‌های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الکترونیکی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ی‌شوند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»</a:t>
            </a:r>
            <a:endParaRPr lang="fa-IR" altLang="en-US" b="1" dirty="0" smtClean="0">
              <a:solidFill>
                <a:srgbClr val="033849"/>
              </a:solidFill>
              <a:latin typeface="Calibri" panose="020F0502020204030204" pitchFamily="34" charset="0"/>
              <a:cs typeface="B Titr"/>
            </a:endParaRP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ضعف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نیاز به انجام پیمایش برای ارزیابی آمادگی یادگیری الکترونیکی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قوت 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بررسی جنبه‌هاي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آمادگي يادگيري الكترونيكي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به شکل ماتریسی </a:t>
            </a:r>
            <a:r>
              <a:rPr lang="fa-IR" altLang="en-US" sz="16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(در </a:t>
            </a:r>
            <a:r>
              <a:rPr lang="fa-IR" altLang="en-US" sz="16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یک سطح </a:t>
            </a:r>
            <a:r>
              <a:rPr lang="fa-IR" altLang="en-US" sz="16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 چهار بُعد </a:t>
            </a:r>
            <a:r>
              <a:rPr lang="fa-IR" altLang="en-US" sz="16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شامل: فنّاوري، نوآوري، منابع انساني، </a:t>
            </a:r>
            <a:r>
              <a:rPr lang="fa-IR" altLang="en-US" sz="16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آموزش و </a:t>
            </a:r>
            <a:r>
              <a:rPr lang="fa-IR" altLang="en-US" sz="16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در سطح دیگر </a:t>
            </a:r>
            <a:r>
              <a:rPr lang="fa-IR" altLang="en-US" sz="16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سه معیار شامل: </a:t>
            </a:r>
            <a:r>
              <a:rPr lang="fa-IR" altLang="en-US" sz="16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نابع، </a:t>
            </a:r>
            <a:r>
              <a:rPr lang="fa-IR" altLang="en-US" sz="16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هارت‌ها </a:t>
            </a:r>
            <a:r>
              <a:rPr lang="fa-IR" altLang="en-US" sz="16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و </a:t>
            </a:r>
            <a:r>
              <a:rPr lang="fa-IR" altLang="en-US" sz="16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نگرش‌ها  ) </a:t>
            </a:r>
            <a:endParaRPr lang="fa-IR" altLang="en-US" b="1" dirty="0" smtClean="0">
              <a:solidFill>
                <a:srgbClr val="033849"/>
              </a:solidFill>
              <a:latin typeface="Calibri" panose="020F0502020204030204" pitchFamily="34" charset="0"/>
              <a:cs typeface="B Titr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1064552" y="260648"/>
            <a:ext cx="702777" cy="702962"/>
            <a:chOff x="2570822" y="2884367"/>
            <a:chExt cx="702777" cy="70296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7" name="Teardrop 6"/>
            <p:cNvSpPr/>
            <p:nvPr/>
          </p:nvSpPr>
          <p:spPr bwMode="auto">
            <a:xfrm rot="8100000">
              <a:off x="2570822" y="2884367"/>
              <a:ext cx="702777" cy="702962"/>
            </a:xfrm>
            <a:prstGeom prst="teardrop">
              <a:avLst/>
            </a:prstGeom>
            <a:solidFill>
              <a:srgbClr val="FFFF2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en-US"/>
              </a:defPPr>
              <a:lvl1pPr marL="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91421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828434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742651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3656868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4571086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5485303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639952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731373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800" dirty="0">
                <a:solidFill>
                  <a:prstClr val="white"/>
                </a:solidFill>
                <a:latin typeface="Lato Light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651438" y="2965076"/>
              <a:ext cx="541544" cy="54154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rtl="1"/>
              <a:r>
                <a:rPr lang="fa-IR" sz="2400" kern="0" dirty="0" smtClean="0">
                  <a:solidFill>
                    <a:srgbClr val="033849"/>
                  </a:solidFill>
                  <a:latin typeface="FontAwesome" pitchFamily="2" charset="0"/>
                  <a:cs typeface="B Titr" panose="00000700000000000000" pitchFamily="2" charset="-78"/>
                </a:rPr>
                <a:t>6</a:t>
              </a:r>
              <a:endParaRPr lang="en-US" sz="2400" kern="0" dirty="0" smtClean="0">
                <a:solidFill>
                  <a:srgbClr val="033849"/>
                </a:solidFill>
                <a:latin typeface="FontAwesome" pitchFamily="2" charset="0"/>
                <a:cs typeface="B Titr" panose="00000700000000000000" pitchFamily="2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1420990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0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2"/>
          <p:cNvSpPr txBox="1">
            <a:spLocks/>
          </p:cNvSpPr>
          <p:nvPr/>
        </p:nvSpPr>
        <p:spPr>
          <a:xfrm>
            <a:off x="335360" y="-96302"/>
            <a:ext cx="10873208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مدل ارزیابی آمادگی الکترونیکی در </a:t>
            </a:r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نظام‌های آموزشی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j-ea"/>
              <a:cs typeface="B Titr" panose="00000700000000000000" pitchFamily="2" charset="-78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342824600"/>
              </p:ext>
            </p:extLst>
          </p:nvPr>
        </p:nvGraphicFramePr>
        <p:xfrm>
          <a:off x="130291" y="592385"/>
          <a:ext cx="11850826" cy="3672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11156373" y="55402"/>
            <a:ext cx="702777" cy="746790"/>
            <a:chOff x="3886779" y="2887458"/>
            <a:chExt cx="702777" cy="746790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8" name="Teardrop 7"/>
            <p:cNvSpPr/>
            <p:nvPr/>
          </p:nvSpPr>
          <p:spPr bwMode="auto">
            <a:xfrm rot="8100000">
              <a:off x="3886779" y="2887458"/>
              <a:ext cx="702777" cy="702962"/>
            </a:xfrm>
            <a:prstGeom prst="teardrop">
              <a:avLst/>
            </a:prstGeom>
            <a:solidFill>
              <a:srgbClr val="FFFF2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en-US"/>
              </a:defPPr>
              <a:lvl1pPr marL="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91421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828434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742651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3656868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4571086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5485303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639952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731373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800" dirty="0">
                <a:solidFill>
                  <a:prstClr val="white"/>
                </a:solidFill>
                <a:latin typeface="Lato Light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3967395" y="3092704"/>
              <a:ext cx="541544" cy="54154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rtl="1"/>
              <a:r>
                <a:rPr lang="fa-IR" sz="2400" kern="0" dirty="0" smtClean="0">
                  <a:solidFill>
                    <a:srgbClr val="033849"/>
                  </a:solidFill>
                  <a:latin typeface="FontAwesome" pitchFamily="2" charset="0"/>
                  <a:cs typeface="B Titr" panose="00000700000000000000" pitchFamily="2" charset="-78"/>
                </a:rPr>
                <a:t>7</a:t>
              </a:r>
              <a:endParaRPr lang="en-US" sz="2400" kern="0" dirty="0" smtClean="0">
                <a:solidFill>
                  <a:srgbClr val="033849"/>
                </a:solidFill>
                <a:latin typeface="FontAwesome" pitchFamily="2" charset="0"/>
                <a:cs typeface="B Titr" panose="00000700000000000000" pitchFamily="2" charset="-78"/>
              </a:endParaRPr>
            </a:p>
          </p:txBody>
        </p:sp>
      </p:grpSp>
      <p:sp>
        <p:nvSpPr>
          <p:cNvPr id="10" name="TextBox 3"/>
          <p:cNvSpPr txBox="1">
            <a:spLocks noChangeArrowheads="1"/>
          </p:cNvSpPr>
          <p:nvPr/>
        </p:nvSpPr>
        <p:spPr bwMode="auto">
          <a:xfrm>
            <a:off x="119336" y="4149080"/>
            <a:ext cx="11960224" cy="2585323"/>
          </a:xfrm>
          <a:prstGeom prst="rect">
            <a:avLst/>
          </a:prstGeom>
          <a:solidFill>
            <a:schemeClr val="bg1"/>
          </a:solidFill>
          <a:ln w="57150">
            <a:solidFill>
              <a:srgbClr val="00206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وع و سطح  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دل خاص در سطح خُرد (سازمان)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بنیانگذار </a:t>
            </a: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سایکاریس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سال ارائه 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2005 میلادی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تأکید اصلی : </a:t>
            </a: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«معرفی سه </a:t>
            </a:r>
            <a:r>
              <a:rPr lang="fa-IR" altLang="en-US" sz="17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بُعد </a:t>
            </a: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و </a:t>
            </a:r>
            <a:r>
              <a:rPr lang="fa-IR" altLang="en-US" sz="17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هشت شاخص اصلی </a:t>
            </a: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برای </a:t>
            </a:r>
            <a:r>
              <a:rPr lang="fa-IR" altLang="en-US" sz="17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ارزیابی آمادگی کلی سازمان </a:t>
            </a: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در </a:t>
            </a:r>
            <a:r>
              <a:rPr lang="fa-IR" altLang="en-US" sz="17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اتخاذ سیاست و </a:t>
            </a: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پیاده‌سازی </a:t>
            </a:r>
            <a:r>
              <a:rPr lang="fa-IR" altLang="en-US" sz="17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نظام یادگیری </a:t>
            </a: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الکترونیکی»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ضعف :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عدم توجه به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شاخص‌های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آمادگی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سیاست و آمادگی استاندارد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نسبت به مدل‌های پیشین </a:t>
            </a:r>
            <a:endParaRPr lang="fa-IR" altLang="en-US" b="1" dirty="0" smtClean="0">
              <a:solidFill>
                <a:srgbClr val="033849"/>
              </a:solidFill>
              <a:latin typeface="Calibri" panose="020F0502020204030204" pitchFamily="34" charset="0"/>
              <a:cs typeface="B Titr"/>
            </a:endParaRP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قوت 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أکید ویژه بر جنبه‌های آمادگی مدیریت و سازمان مجری دوره‌های آموزش الکترونیکی</a:t>
            </a:r>
          </a:p>
        </p:txBody>
      </p:sp>
    </p:spTree>
    <p:extLst>
      <p:ext uri="{BB962C8B-B14F-4D97-AF65-F5344CB8AC3E}">
        <p14:creationId xmlns:p14="http://schemas.microsoft.com/office/powerpoint/2010/main" val="259400277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57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2"/>
          <p:cNvSpPr txBox="1">
            <a:spLocks/>
          </p:cNvSpPr>
          <p:nvPr/>
        </p:nvSpPr>
        <p:spPr>
          <a:xfrm>
            <a:off x="335360" y="-96302"/>
            <a:ext cx="10873208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مدل ارزیابی </a:t>
            </a:r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آمادگی یادگیری الكترونیكی </a:t>
            </a:r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لوپز</a:t>
            </a:r>
            <a:endParaRPr lang="en-US" sz="3200" dirty="0">
              <a:solidFill>
                <a:srgbClr val="FFFF2F"/>
              </a:solidFill>
              <a:cs typeface="B Titr" panose="00000700000000000000" pitchFamily="2" charset="-78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0920536" y="14024"/>
            <a:ext cx="702777" cy="702962"/>
            <a:chOff x="2570822" y="2884367"/>
            <a:chExt cx="702777" cy="70296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8" name="Teardrop 7"/>
            <p:cNvSpPr/>
            <p:nvPr/>
          </p:nvSpPr>
          <p:spPr bwMode="auto">
            <a:xfrm rot="8100000">
              <a:off x="2570822" y="2884367"/>
              <a:ext cx="702777" cy="702962"/>
            </a:xfrm>
            <a:prstGeom prst="teardrop">
              <a:avLst/>
            </a:prstGeom>
            <a:solidFill>
              <a:srgbClr val="FFFF2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en-US"/>
              </a:defPPr>
              <a:lvl1pPr marL="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91421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828434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742651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3656868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4571086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5485303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639952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731373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800" dirty="0">
                <a:solidFill>
                  <a:prstClr val="white"/>
                </a:solidFill>
                <a:latin typeface="Lato Light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651438" y="2965076"/>
              <a:ext cx="541544" cy="54154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rtl="1"/>
              <a:r>
                <a:rPr lang="fa-IR" sz="2400" kern="0" dirty="0" smtClean="0">
                  <a:solidFill>
                    <a:srgbClr val="033849"/>
                  </a:solidFill>
                  <a:latin typeface="FontAwesome" pitchFamily="2" charset="0"/>
                  <a:cs typeface="B Titr" panose="00000700000000000000" pitchFamily="2" charset="-78"/>
                </a:rPr>
                <a:t>8</a:t>
              </a:r>
              <a:endParaRPr lang="en-US" sz="2400" kern="0" dirty="0" smtClean="0">
                <a:solidFill>
                  <a:srgbClr val="033849"/>
                </a:solidFill>
                <a:latin typeface="FontAwesome" pitchFamily="2" charset="0"/>
                <a:cs typeface="B Titr" panose="00000700000000000000" pitchFamily="2" charset="-78"/>
              </a:endParaRPr>
            </a:p>
          </p:txBody>
        </p:sp>
      </p:grpSp>
      <p:sp>
        <p:nvSpPr>
          <p:cNvPr id="10" name="TextBox 3"/>
          <p:cNvSpPr txBox="1">
            <a:spLocks noChangeArrowheads="1"/>
          </p:cNvSpPr>
          <p:nvPr/>
        </p:nvSpPr>
        <p:spPr bwMode="auto">
          <a:xfrm>
            <a:off x="7032104" y="1052736"/>
            <a:ext cx="5067537" cy="5586145"/>
          </a:xfrm>
          <a:prstGeom prst="rect">
            <a:avLst/>
          </a:prstGeom>
          <a:solidFill>
            <a:schemeClr val="bg1"/>
          </a:solidFill>
          <a:ln w="57150">
            <a:solidFill>
              <a:srgbClr val="00206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sz="1700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وع و سطح : </a:t>
            </a: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دل خاص در سطح خرد (مؤسسه‌های آموزش عالی)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sz="1700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بنیانگذار: </a:t>
            </a: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لوپز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sz="1700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سال ارائه : </a:t>
            </a: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2007 میلادی</a:t>
            </a:r>
          </a:p>
          <a:p>
            <a:pPr marL="457200" indent="-457200"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sz="1700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تأکید اصلی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«راهبرد </a:t>
            </a:r>
            <a:r>
              <a:rPr lang="fa-IR" altLang="en-US" sz="17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یادگیری الکترونیکی مؤسسه باید با راهبردها و اهداف مؤسسه و محیط خارجی آن (تعهدات قانونی و وابستگی به </a:t>
            </a: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سازمان‌های </a:t>
            </a:r>
            <a:r>
              <a:rPr lang="fa-IR" altLang="en-US" sz="17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دیگر) هماهنگ و از تعهد و پشتیبانی مدیران </a:t>
            </a: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عالی‌رتبۀ </a:t>
            </a:r>
            <a:r>
              <a:rPr lang="fa-IR" altLang="en-US" sz="17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سازمان برخوردار باشد»</a:t>
            </a:r>
            <a:endParaRPr lang="fa-IR" altLang="en-US" sz="1700" b="1" dirty="0" smtClean="0">
              <a:solidFill>
                <a:srgbClr val="033849"/>
              </a:solidFill>
              <a:latin typeface="Calibri" panose="020F0502020204030204" pitchFamily="34" charset="0"/>
              <a:cs typeface="B Titr"/>
            </a:endParaRP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sz="1700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ضعف  </a:t>
            </a:r>
          </a:p>
          <a:p>
            <a:pPr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عدم </a:t>
            </a:r>
            <a:r>
              <a:rPr lang="fa-IR" altLang="en-US" sz="17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وجه به </a:t>
            </a: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شاخص آمادگی استاندارد </a:t>
            </a:r>
            <a:r>
              <a:rPr lang="fa-IR" altLang="en-US" sz="17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نسبت به مدل‌های پیشین </a:t>
            </a:r>
            <a:endParaRPr lang="fa-IR" altLang="en-US" sz="1700" b="1" dirty="0" smtClean="0">
              <a:solidFill>
                <a:srgbClr val="033849"/>
              </a:solidFill>
              <a:latin typeface="Calibri" panose="020F0502020204030204" pitchFamily="34" charset="0"/>
              <a:cs typeface="B Titr"/>
            </a:endParaRP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sz="1700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قوت  </a:t>
            </a:r>
          </a:p>
          <a:p>
            <a:pPr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sz="1700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أکید ویژه بر جنبه‌های آمادگی سیاستی و پداگوژیکی </a:t>
            </a:r>
            <a:r>
              <a:rPr lang="fa-IR" altLang="en-US" sz="1700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ؤسسه آموزشی </a:t>
            </a:r>
            <a:endParaRPr lang="fa-IR" altLang="en-US" sz="1700" b="1" dirty="0" smtClean="0">
              <a:solidFill>
                <a:srgbClr val="033849"/>
              </a:solidFill>
              <a:latin typeface="Calibri" panose="020F0502020204030204" pitchFamily="34" charset="0"/>
              <a:cs typeface="B Titr"/>
            </a:endParaRPr>
          </a:p>
        </p:txBody>
      </p:sp>
      <p:graphicFrame>
        <p:nvGraphicFramePr>
          <p:cNvPr id="19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20090112"/>
              </p:ext>
            </p:extLst>
          </p:nvPr>
        </p:nvGraphicFramePr>
        <p:xfrm>
          <a:off x="-24680" y="1779295"/>
          <a:ext cx="7056784" cy="3881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58" r:id="rId7" imgW="4629170" imgH="2543264" progId="Visio.Drawing.15">
                  <p:embed/>
                </p:oleObj>
              </mc:Choice>
              <mc:Fallback>
                <p:oleObj r:id="rId7" imgW="4629170" imgH="2543264" progId="Visio.Drawing.15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4680" y="1779295"/>
                        <a:ext cx="7056784" cy="388195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26062650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21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2"/>
          <p:cNvSpPr txBox="1">
            <a:spLocks/>
          </p:cNvSpPr>
          <p:nvPr/>
        </p:nvSpPr>
        <p:spPr>
          <a:xfrm>
            <a:off x="695400" y="260648"/>
            <a:ext cx="10873208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مدل ارزیابی آمادگي یادگیری الكترونيكي </a:t>
            </a:r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دانشگاهها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j-ea"/>
              <a:cs typeface="B Titr" panose="00000700000000000000" pitchFamily="2" charset="-78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2704" y="1037125"/>
            <a:ext cx="3562125" cy="3540536"/>
          </a:xfrm>
          <a:prstGeom prst="rect">
            <a:avLst/>
          </a:prstGeom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-456728" y="6206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12462543"/>
              </p:ext>
            </p:extLst>
          </p:nvPr>
        </p:nvGraphicFramePr>
        <p:xfrm>
          <a:off x="50463" y="3140968"/>
          <a:ext cx="3670318" cy="36221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22" r:id="rId8" imgW="3400298" imgH="3410096" progId="Visio.Drawing.15">
                  <p:embed/>
                </p:oleObj>
              </mc:Choice>
              <mc:Fallback>
                <p:oleObj r:id="rId8" imgW="3400298" imgH="3410096" progId="Visio.Drawing.15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463" y="3140968"/>
                        <a:ext cx="3670318" cy="362219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11298077" y="188640"/>
            <a:ext cx="702777" cy="702962"/>
            <a:chOff x="2570822" y="2884367"/>
            <a:chExt cx="702777" cy="70296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8" name="Teardrop 7"/>
            <p:cNvSpPr/>
            <p:nvPr/>
          </p:nvSpPr>
          <p:spPr bwMode="auto">
            <a:xfrm rot="8100000">
              <a:off x="2570822" y="2884367"/>
              <a:ext cx="702777" cy="702962"/>
            </a:xfrm>
            <a:prstGeom prst="teardrop">
              <a:avLst/>
            </a:prstGeom>
            <a:solidFill>
              <a:srgbClr val="FFFF2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en-US"/>
              </a:defPPr>
              <a:lvl1pPr marL="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91421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828434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742651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3656868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4571086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5485303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639952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731373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800" dirty="0">
                <a:solidFill>
                  <a:prstClr val="white"/>
                </a:solidFill>
                <a:latin typeface="Lato Light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651438" y="2965076"/>
              <a:ext cx="541544" cy="54154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rtl="1"/>
              <a:r>
                <a:rPr lang="fa-IR" sz="2400" kern="0" dirty="0" smtClean="0">
                  <a:solidFill>
                    <a:srgbClr val="033849"/>
                  </a:solidFill>
                  <a:latin typeface="FontAwesome" pitchFamily="2" charset="0"/>
                  <a:cs typeface="B Titr" panose="00000700000000000000" pitchFamily="2" charset="-78"/>
                </a:rPr>
                <a:t>9</a:t>
              </a:r>
              <a:endParaRPr lang="en-US" sz="2400" kern="0" dirty="0" smtClean="0">
                <a:solidFill>
                  <a:srgbClr val="033849"/>
                </a:solidFill>
                <a:latin typeface="FontAwesome" pitchFamily="2" charset="0"/>
                <a:cs typeface="B Titr" panose="00000700000000000000" pitchFamily="2" charset="-78"/>
              </a:endParaRPr>
            </a:p>
          </p:txBody>
        </p:sp>
      </p:grpSp>
      <p:sp>
        <p:nvSpPr>
          <p:cNvPr id="10" name="TextBox 3"/>
          <p:cNvSpPr txBox="1">
            <a:spLocks noChangeArrowheads="1"/>
          </p:cNvSpPr>
          <p:nvPr/>
        </p:nvSpPr>
        <p:spPr bwMode="auto">
          <a:xfrm>
            <a:off x="6575580" y="1542724"/>
            <a:ext cx="5421419" cy="5078313"/>
          </a:xfrm>
          <a:prstGeom prst="rect">
            <a:avLst/>
          </a:prstGeom>
          <a:solidFill>
            <a:schemeClr val="bg1"/>
          </a:solidFill>
          <a:ln w="57150">
            <a:solidFill>
              <a:srgbClr val="00206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وع و سطح 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دل خاص در سطح خرد (مؤسسه‌های آموزش عالی)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بنیانگذار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 منتظر و داراب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سال ارائه : 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2011میلادی</a:t>
            </a:r>
          </a:p>
          <a:p>
            <a:pPr marL="457200" indent="-457200"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تأکید اصلی </a:t>
            </a:r>
          </a:p>
          <a:p>
            <a:pPr marL="457200" indent="-457200"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«ارزیابی آمادگی یادگیری الکترونیکی بر مبنای چهار بُعد آمادگی سخت، نَرم، پشتیبانی و نظارت »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ضعف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عدم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وجه به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شاخص آمادگی پداگوژیکی 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نسبت به مدل‌های پیشین </a:t>
            </a:r>
            <a:endParaRPr lang="fa-IR" altLang="en-US" b="1" dirty="0" smtClean="0">
              <a:solidFill>
                <a:srgbClr val="033849"/>
              </a:solidFill>
              <a:latin typeface="Calibri" panose="020F0502020204030204" pitchFamily="34" charset="0"/>
              <a:cs typeface="B Titr"/>
            </a:endParaRP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قوت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وجه به شاخص‌های آمادگی قوانین و مقررات، امنیت و نظارت و هماهنگی مضاف بر شاخص‌های موجود در مدل‌های قبلی </a:t>
            </a:r>
          </a:p>
        </p:txBody>
      </p:sp>
    </p:spTree>
    <p:extLst>
      <p:ext uri="{BB962C8B-B14F-4D97-AF65-F5344CB8AC3E}">
        <p14:creationId xmlns:p14="http://schemas.microsoft.com/office/powerpoint/2010/main" val="346315374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43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2"/>
          <p:cNvSpPr txBox="1">
            <a:spLocks/>
          </p:cNvSpPr>
          <p:nvPr/>
        </p:nvSpPr>
        <p:spPr>
          <a:xfrm>
            <a:off x="695400" y="260648"/>
            <a:ext cx="10873208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مدل ارزیابی آمادگي یادگیری الكترونيكي اومُدا </a:t>
            </a:r>
            <a:r>
              <a:rPr lang="fa-IR" sz="3200" dirty="0" smtClean="0">
                <a:solidFill>
                  <a:srgbClr val="FFFF2F"/>
                </a:solidFill>
                <a:cs typeface="B Titr" panose="00000700000000000000" pitchFamily="2" charset="-78"/>
              </a:rPr>
              <a:t> 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j-ea"/>
              <a:cs typeface="B Titr" panose="00000700000000000000" pitchFamily="2" charset="-78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-456728" y="6206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9075747"/>
              </p:ext>
            </p:extLst>
          </p:nvPr>
        </p:nvGraphicFramePr>
        <p:xfrm>
          <a:off x="191344" y="1349983"/>
          <a:ext cx="5196870" cy="41853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44" r:id="rId7" imgW="3505068" imgH="2762341" progId="Visio.Drawing.15">
                  <p:embed/>
                </p:oleObj>
              </mc:Choice>
              <mc:Fallback>
                <p:oleObj r:id="rId7" imgW="3505068" imgH="2762341" progId="Visio.Drawing.15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1344" y="1349983"/>
                        <a:ext cx="5196870" cy="418539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11074624" y="188640"/>
            <a:ext cx="702777" cy="702962"/>
            <a:chOff x="3444990" y="2884367"/>
            <a:chExt cx="702777" cy="70296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8" name="Teardrop 7"/>
            <p:cNvSpPr/>
            <p:nvPr/>
          </p:nvSpPr>
          <p:spPr bwMode="auto">
            <a:xfrm rot="8100000">
              <a:off x="3444990" y="2884367"/>
              <a:ext cx="702777" cy="702962"/>
            </a:xfrm>
            <a:prstGeom prst="teardrop">
              <a:avLst/>
            </a:prstGeom>
            <a:solidFill>
              <a:srgbClr val="FFFF2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en-US"/>
              </a:defPPr>
              <a:lvl1pPr marL="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91421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828434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742651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3656868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4571086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5485303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6399520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7313737" algn="l" defTabSz="1828434" rtl="0" eaLnBrk="1" latinLnBrk="0" hangingPunct="1">
                <a:defRPr sz="3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800" dirty="0">
                <a:solidFill>
                  <a:prstClr val="white"/>
                </a:solidFill>
                <a:latin typeface="Lato Light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3525606" y="3045643"/>
              <a:ext cx="541544" cy="54154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rtl="1"/>
              <a:r>
                <a:rPr lang="fa-IR" kern="0" dirty="0" smtClean="0">
                  <a:solidFill>
                    <a:srgbClr val="033849"/>
                  </a:solidFill>
                  <a:latin typeface="FontAwesome" pitchFamily="2" charset="0"/>
                  <a:cs typeface="B Titr" panose="00000700000000000000" pitchFamily="2" charset="-78"/>
                </a:rPr>
                <a:t>10</a:t>
              </a:r>
              <a:endParaRPr lang="en-US" kern="0" dirty="0" smtClean="0">
                <a:solidFill>
                  <a:srgbClr val="033849"/>
                </a:solidFill>
                <a:latin typeface="FontAwesome" pitchFamily="2" charset="0"/>
                <a:cs typeface="B Titr" panose="00000700000000000000" pitchFamily="2" charset="-78"/>
              </a:endParaRPr>
            </a:p>
          </p:txBody>
        </p:sp>
      </p:grpSp>
      <p:sp>
        <p:nvSpPr>
          <p:cNvPr id="10" name="TextBox 3"/>
          <p:cNvSpPr txBox="1">
            <a:spLocks noChangeArrowheads="1"/>
          </p:cNvSpPr>
          <p:nvPr/>
        </p:nvSpPr>
        <p:spPr bwMode="auto">
          <a:xfrm>
            <a:off x="5519936" y="1269538"/>
            <a:ext cx="6477063" cy="4247317"/>
          </a:xfrm>
          <a:prstGeom prst="rect">
            <a:avLst/>
          </a:prstGeom>
          <a:solidFill>
            <a:schemeClr val="bg1"/>
          </a:solidFill>
          <a:ln w="57150">
            <a:solidFill>
              <a:srgbClr val="00206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وع و سطح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مدل خاص در سطح خرد (مؤسسه‌های آموزش عالی)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بنیانگذار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اومدا و لوبگا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سال ارائه :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2011 میلادی</a:t>
            </a:r>
          </a:p>
          <a:p>
            <a:pPr marL="457200" indent="-457200"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تأکید اصلی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«ترغیب استفاده از نظام‌های یادگیری الکترونیکی در دانشگاه‌ها به منظور افزایش دسترسی به آموزش و بهبود سطح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آموزش»</a:t>
            </a: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ضعف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وجه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به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جنبه‌های محدودی از شاخص‌های آمادگی نَرم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نسبت به مدل‌های پیشین </a:t>
            </a:r>
            <a:endParaRPr lang="fa-IR" altLang="en-US" b="1" dirty="0" smtClean="0">
              <a:solidFill>
                <a:srgbClr val="033849"/>
              </a:solidFill>
              <a:latin typeface="Calibri" panose="020F0502020204030204" pitchFamily="34" charset="0"/>
              <a:cs typeface="B Titr"/>
            </a:endParaRPr>
          </a:p>
          <a:p>
            <a:pPr marL="457200" indent="-457200" algn="r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fa-IR" altLang="en-US" b="1" dirty="0" smtClean="0">
                <a:solidFill>
                  <a:srgbClr val="BF0000"/>
                </a:solidFill>
                <a:latin typeface="Calibri" panose="020F0502020204030204" pitchFamily="34" charset="0"/>
                <a:cs typeface="B Titr"/>
              </a:rPr>
              <a:t>نقطه قوت  </a:t>
            </a:r>
          </a:p>
          <a:p>
            <a:pPr algn="just" rt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تعیین شاخص‌های تأثیرگذار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آگاهی و فرهنگ بر </a:t>
            </a:r>
            <a:r>
              <a:rPr lang="fa-IR" altLang="en-US" b="1" dirty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آمادگی یادگیری الکترونیکی </a:t>
            </a:r>
            <a:r>
              <a:rPr lang="fa-IR" altLang="en-US" b="1" dirty="0" smtClean="0">
                <a:solidFill>
                  <a:srgbClr val="033849"/>
                </a:solidFill>
                <a:latin typeface="Calibri" panose="020F0502020204030204" pitchFamily="34" charset="0"/>
                <a:cs typeface="B Titr"/>
              </a:rPr>
              <a:t> </a:t>
            </a:r>
            <a:endParaRPr lang="fa-IR" altLang="en-US" sz="1600" b="1" dirty="0" smtClean="0">
              <a:solidFill>
                <a:srgbClr val="033849"/>
              </a:solidFill>
              <a:latin typeface="Calibri" panose="020F0502020204030204" pitchFamily="34" charset="0"/>
              <a:cs typeface="B Titr"/>
            </a:endParaRPr>
          </a:p>
        </p:txBody>
      </p:sp>
    </p:spTree>
    <p:extLst>
      <p:ext uri="{BB962C8B-B14F-4D97-AF65-F5344CB8AC3E}">
        <p14:creationId xmlns:p14="http://schemas.microsoft.com/office/powerpoint/2010/main" val="3172014405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71464" y="332656"/>
            <a:ext cx="10441160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200000"/>
              </a:lnSpc>
            </a:pPr>
            <a:r>
              <a:rPr lang="en-US" sz="4400" dirty="0" smtClean="0">
                <a:solidFill>
                  <a:srgbClr val="FF0000"/>
                </a:solidFill>
                <a:latin typeface="Century Gothic"/>
                <a:cs typeface="B Titr" panose="00000700000000000000" pitchFamily="2" charset="-78"/>
              </a:rPr>
              <a:t> </a:t>
            </a:r>
            <a:r>
              <a:rPr lang="fa-IR" sz="4400" dirty="0" smtClean="0">
                <a:solidFill>
                  <a:srgbClr val="7030A0"/>
                </a:solidFill>
                <a:latin typeface="Century Gothic"/>
                <a:cs typeface="B Titr" panose="00000700000000000000" pitchFamily="2" charset="-78"/>
              </a:rPr>
              <a:t>مواد لازم </a:t>
            </a:r>
            <a:r>
              <a:rPr lang="fa-IR" sz="4400" dirty="0">
                <a:solidFill>
                  <a:srgbClr val="7030A0"/>
                </a:solidFill>
                <a:latin typeface="Century Gothic"/>
                <a:cs typeface="B Titr" panose="00000700000000000000" pitchFamily="2" charset="-78"/>
              </a:rPr>
              <a:t>برای پخت! یادگیری </a:t>
            </a:r>
            <a:r>
              <a:rPr lang="fa-IR" sz="4400" dirty="0" smtClean="0">
                <a:solidFill>
                  <a:srgbClr val="7030A0"/>
                </a:solidFill>
                <a:latin typeface="Century Gothic"/>
                <a:cs typeface="B Titr" panose="00000700000000000000" pitchFamily="2" charset="-78"/>
              </a:rPr>
              <a:t>الکترونیکی</a:t>
            </a:r>
            <a:r>
              <a:rPr lang="en-US" sz="4400" dirty="0" smtClean="0">
                <a:solidFill>
                  <a:srgbClr val="7030A0"/>
                </a:solidFill>
                <a:latin typeface="Century Gothic"/>
                <a:cs typeface="B Titr" panose="00000700000000000000" pitchFamily="2" charset="-78"/>
              </a:rPr>
              <a:t> </a:t>
            </a:r>
            <a:r>
              <a:rPr lang="fa-IR" sz="4400" dirty="0" smtClean="0">
                <a:solidFill>
                  <a:srgbClr val="7030A0"/>
                </a:solidFill>
                <a:latin typeface="Century Gothic"/>
                <a:cs typeface="B Titr" panose="00000700000000000000" pitchFamily="2" charset="-78"/>
              </a:rPr>
              <a:t> </a:t>
            </a:r>
            <a:endParaRPr lang="en-US" sz="4400" dirty="0" smtClean="0">
              <a:solidFill>
                <a:srgbClr val="7030A0"/>
              </a:solidFill>
              <a:latin typeface="Century Gothic"/>
              <a:cs typeface="B Titr" panose="00000700000000000000" pitchFamily="2" charset="-78"/>
            </a:endParaRPr>
          </a:p>
          <a:p>
            <a:pPr algn="ctr" rtl="1">
              <a:lnSpc>
                <a:spcPct val="200000"/>
              </a:lnSpc>
            </a:pPr>
            <a:r>
              <a:rPr lang="fa-IR" sz="2800" dirty="0" smtClean="0">
                <a:solidFill>
                  <a:srgbClr val="C00000"/>
                </a:solidFill>
                <a:latin typeface="Century Gothic"/>
                <a:cs typeface="B Titr" panose="00000700000000000000" pitchFamily="2" charset="-78"/>
              </a:rPr>
              <a:t>(برای تحقق یادگیری الکترونیکی چه عواملی باید آماده باشد؟)</a:t>
            </a:r>
          </a:p>
          <a:p>
            <a:pPr algn="ctr" rtl="1">
              <a:lnSpc>
                <a:spcPct val="200000"/>
              </a:lnSpc>
            </a:pPr>
            <a:r>
              <a:rPr lang="fa-IR" sz="3200" dirty="0" smtClean="0">
                <a:solidFill>
                  <a:srgbClr val="0070C0"/>
                </a:solidFill>
                <a:latin typeface="Century Gothic"/>
                <a:cs typeface="B Titr" panose="00000700000000000000" pitchFamily="2" charset="-78"/>
              </a:rPr>
              <a:t>غلامعلی منتظر</a:t>
            </a:r>
          </a:p>
          <a:p>
            <a:pPr algn="ctr" rtl="1">
              <a:lnSpc>
                <a:spcPct val="200000"/>
              </a:lnSpc>
            </a:pPr>
            <a:r>
              <a:rPr lang="fa-IR" sz="2400" dirty="0">
                <a:solidFill>
                  <a:srgbClr val="0070C0"/>
                </a:solidFill>
                <a:latin typeface="Century Gothic"/>
                <a:cs typeface="B Titr" panose="00000700000000000000" pitchFamily="2" charset="-78"/>
              </a:rPr>
              <a:t>دانشگاه تربیت مدرّس- انجمن یادگیری الکترونیکی ایران</a:t>
            </a:r>
          </a:p>
          <a:p>
            <a:pPr algn="ctr" rtl="1">
              <a:lnSpc>
                <a:spcPct val="200000"/>
              </a:lnSpc>
            </a:pPr>
            <a:endParaRPr lang="fa-IR" sz="2400" dirty="0" smtClean="0">
              <a:solidFill>
                <a:srgbClr val="033849"/>
              </a:solidFill>
              <a:latin typeface="Century Gothic"/>
              <a:cs typeface="B Titr" panose="00000700000000000000" pitchFamily="2" charset="-78"/>
            </a:endParaRPr>
          </a:p>
          <a:p>
            <a:pPr algn="ctr" rtl="1">
              <a:lnSpc>
                <a:spcPct val="200000"/>
              </a:lnSpc>
            </a:pPr>
            <a:r>
              <a:rPr lang="fa-IR" sz="2400" dirty="0" smtClean="0">
                <a:solidFill>
                  <a:srgbClr val="00B050"/>
                </a:solidFill>
                <a:latin typeface="Century Gothic"/>
                <a:cs typeface="B Titr" panose="00000700000000000000" pitchFamily="2" charset="-78"/>
              </a:rPr>
              <a:t>چهاردهم </a:t>
            </a:r>
            <a:r>
              <a:rPr lang="fa-IR" sz="2400" dirty="0">
                <a:solidFill>
                  <a:srgbClr val="00B050"/>
                </a:solidFill>
                <a:latin typeface="Century Gothic"/>
                <a:cs typeface="B Titr" panose="00000700000000000000" pitchFamily="2" charset="-78"/>
              </a:rPr>
              <a:t>بهمن‌ماه </a:t>
            </a:r>
            <a:r>
              <a:rPr lang="fa-IR" sz="2400" dirty="0" smtClean="0">
                <a:solidFill>
                  <a:srgbClr val="00B050"/>
                </a:solidFill>
                <a:latin typeface="Century Gothic"/>
                <a:cs typeface="B Titr" panose="00000700000000000000" pitchFamily="2" charset="-78"/>
              </a:rPr>
              <a:t>1398</a:t>
            </a:r>
            <a:endParaRPr lang="fa-IR" sz="3600" dirty="0">
              <a:solidFill>
                <a:srgbClr val="00B050"/>
              </a:solidFill>
              <a:latin typeface="Century Gothic"/>
              <a:cs typeface="B Titr" panose="000007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58766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20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2"/>
          <p:cNvSpPr txBox="1">
            <a:spLocks/>
          </p:cNvSpPr>
          <p:nvPr/>
        </p:nvSpPr>
        <p:spPr>
          <a:xfrm>
            <a:off x="407368" y="-99392"/>
            <a:ext cx="10873208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a-IR" sz="3200" dirty="0">
                <a:solidFill>
                  <a:srgbClr val="FFFF2F"/>
                </a:solidFill>
                <a:cs typeface="B Titr" panose="00000700000000000000" pitchFamily="2" charset="-78"/>
              </a:rPr>
              <a:t>مقایسۀ ابعاد آمادگی الکترونیکی در مدل‌های مختلف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j-ea"/>
              <a:cs typeface="B Titr" panose="00000700000000000000" pitchFamily="2" charset="-78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-456728" y="6206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265427"/>
              </p:ext>
            </p:extLst>
          </p:nvPr>
        </p:nvGraphicFramePr>
        <p:xfrm>
          <a:off x="191344" y="764704"/>
          <a:ext cx="11737307" cy="6028944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438975">
                  <a:extLst>
                    <a:ext uri="{9D8B030D-6E8A-4147-A177-3AD203B41FA5}">
                      <a16:colId xmlns:a16="http://schemas.microsoft.com/office/drawing/2014/main" xmlns="" val="3849843485"/>
                    </a:ext>
                  </a:extLst>
                </a:gridCol>
                <a:gridCol w="438975">
                  <a:extLst>
                    <a:ext uri="{9D8B030D-6E8A-4147-A177-3AD203B41FA5}">
                      <a16:colId xmlns:a16="http://schemas.microsoft.com/office/drawing/2014/main" xmlns="" val="1414231853"/>
                    </a:ext>
                  </a:extLst>
                </a:gridCol>
                <a:gridCol w="438975">
                  <a:extLst>
                    <a:ext uri="{9D8B030D-6E8A-4147-A177-3AD203B41FA5}">
                      <a16:colId xmlns:a16="http://schemas.microsoft.com/office/drawing/2014/main" xmlns="" val="4223456340"/>
                    </a:ext>
                  </a:extLst>
                </a:gridCol>
                <a:gridCol w="438975">
                  <a:extLst>
                    <a:ext uri="{9D8B030D-6E8A-4147-A177-3AD203B41FA5}">
                      <a16:colId xmlns:a16="http://schemas.microsoft.com/office/drawing/2014/main" xmlns="" val="2411356609"/>
                    </a:ext>
                  </a:extLst>
                </a:gridCol>
                <a:gridCol w="438975">
                  <a:extLst>
                    <a:ext uri="{9D8B030D-6E8A-4147-A177-3AD203B41FA5}">
                      <a16:colId xmlns:a16="http://schemas.microsoft.com/office/drawing/2014/main" xmlns="" val="247307326"/>
                    </a:ext>
                  </a:extLst>
                </a:gridCol>
                <a:gridCol w="438975">
                  <a:extLst>
                    <a:ext uri="{9D8B030D-6E8A-4147-A177-3AD203B41FA5}">
                      <a16:colId xmlns:a16="http://schemas.microsoft.com/office/drawing/2014/main" xmlns="" val="198855141"/>
                    </a:ext>
                  </a:extLst>
                </a:gridCol>
                <a:gridCol w="606510">
                  <a:extLst>
                    <a:ext uri="{9D8B030D-6E8A-4147-A177-3AD203B41FA5}">
                      <a16:colId xmlns:a16="http://schemas.microsoft.com/office/drawing/2014/main" xmlns="" val="366288011"/>
                    </a:ext>
                  </a:extLst>
                </a:gridCol>
                <a:gridCol w="271440">
                  <a:extLst>
                    <a:ext uri="{9D8B030D-6E8A-4147-A177-3AD203B41FA5}">
                      <a16:colId xmlns:a16="http://schemas.microsoft.com/office/drawing/2014/main" xmlns="" val="2132750118"/>
                    </a:ext>
                  </a:extLst>
                </a:gridCol>
                <a:gridCol w="438975">
                  <a:extLst>
                    <a:ext uri="{9D8B030D-6E8A-4147-A177-3AD203B41FA5}">
                      <a16:colId xmlns:a16="http://schemas.microsoft.com/office/drawing/2014/main" xmlns="" val="2699607501"/>
                    </a:ext>
                  </a:extLst>
                </a:gridCol>
                <a:gridCol w="513721">
                  <a:extLst>
                    <a:ext uri="{9D8B030D-6E8A-4147-A177-3AD203B41FA5}">
                      <a16:colId xmlns:a16="http://schemas.microsoft.com/office/drawing/2014/main" xmlns="" val="566982706"/>
                    </a:ext>
                  </a:extLst>
                </a:gridCol>
                <a:gridCol w="364229">
                  <a:extLst>
                    <a:ext uri="{9D8B030D-6E8A-4147-A177-3AD203B41FA5}">
                      <a16:colId xmlns:a16="http://schemas.microsoft.com/office/drawing/2014/main" xmlns="" val="3854061533"/>
                    </a:ext>
                  </a:extLst>
                </a:gridCol>
                <a:gridCol w="436628">
                  <a:extLst>
                    <a:ext uri="{9D8B030D-6E8A-4147-A177-3AD203B41FA5}">
                      <a16:colId xmlns:a16="http://schemas.microsoft.com/office/drawing/2014/main" xmlns="" val="3474425795"/>
                    </a:ext>
                  </a:extLst>
                </a:gridCol>
                <a:gridCol w="469492">
                  <a:extLst>
                    <a:ext uri="{9D8B030D-6E8A-4147-A177-3AD203B41FA5}">
                      <a16:colId xmlns:a16="http://schemas.microsoft.com/office/drawing/2014/main" xmlns="" val="3215710164"/>
                    </a:ext>
                  </a:extLst>
                </a:gridCol>
                <a:gridCol w="469492">
                  <a:extLst>
                    <a:ext uri="{9D8B030D-6E8A-4147-A177-3AD203B41FA5}">
                      <a16:colId xmlns:a16="http://schemas.microsoft.com/office/drawing/2014/main" xmlns="" val="3735895911"/>
                    </a:ext>
                  </a:extLst>
                </a:gridCol>
                <a:gridCol w="352120">
                  <a:extLst>
                    <a:ext uri="{9D8B030D-6E8A-4147-A177-3AD203B41FA5}">
                      <a16:colId xmlns:a16="http://schemas.microsoft.com/office/drawing/2014/main" xmlns="" val="1910351541"/>
                    </a:ext>
                  </a:extLst>
                </a:gridCol>
                <a:gridCol w="467146">
                  <a:extLst>
                    <a:ext uri="{9D8B030D-6E8A-4147-A177-3AD203B41FA5}">
                      <a16:colId xmlns:a16="http://schemas.microsoft.com/office/drawing/2014/main" xmlns="" val="3834506721"/>
                    </a:ext>
                  </a:extLst>
                </a:gridCol>
                <a:gridCol w="537237">
                  <a:extLst>
                    <a:ext uri="{9D8B030D-6E8A-4147-A177-3AD203B41FA5}">
                      <a16:colId xmlns:a16="http://schemas.microsoft.com/office/drawing/2014/main" xmlns="" val="455456402"/>
                    </a:ext>
                  </a:extLst>
                </a:gridCol>
                <a:gridCol w="3816424">
                  <a:extLst>
                    <a:ext uri="{9D8B030D-6E8A-4147-A177-3AD203B41FA5}">
                      <a16:colId xmlns:a16="http://schemas.microsoft.com/office/drawing/2014/main" xmlns="" val="265641911"/>
                    </a:ext>
                  </a:extLst>
                </a:gridCol>
                <a:gridCol w="360043">
                  <a:extLst>
                    <a:ext uri="{9D8B030D-6E8A-4147-A177-3AD203B41FA5}">
                      <a16:colId xmlns:a16="http://schemas.microsoft.com/office/drawing/2014/main" xmlns="" val="3029834892"/>
                    </a:ext>
                  </a:extLst>
                </a:gridCol>
              </a:tblGrid>
              <a:tr h="748475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یاددهنده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یادگیرنده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سازمان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آگاهی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پداگوژی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پشتیبانی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نظارت و هماهنگی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یریت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استاندارد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قوانین و مقررات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امنیت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نابع انسانی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نابع مالی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فرهنگ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سیاست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حتوا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زیر ساخت فنّاورانه 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                                        </a:t>
                      </a:r>
                      <a:r>
                        <a:rPr lang="ar-SA" sz="18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بُعد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0" marR="0" algn="just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0" marR="0" algn="just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                </a:t>
                      </a:r>
                      <a:r>
                        <a:rPr lang="fa-IR" sz="18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ردیف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24280792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مک­کانل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McConnel, 2000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1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37842655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ویتسا </a:t>
                      </a:r>
                      <a:r>
                        <a:rPr lang="fa-IR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WITSA, 2000</a:t>
                      </a:r>
                      <a:r>
                        <a:rPr lang="fa-IR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r>
                        <a:rPr lang="fa-I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11277199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رزنبرگ </a:t>
                      </a:r>
                      <a:r>
                        <a:rPr lang="fa-IR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Rosenberg, 2001</a:t>
                      </a:r>
                      <a:r>
                        <a:rPr lang="fa-IR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18601043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اِنگولم و مَک‌لین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Engholm &amp; McLean, 2001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4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40033621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براد بنت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Bradbent, 2002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5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94221980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اندرسون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Anderson, 2002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6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30691299"/>
                  </a:ext>
                </a:extLst>
              </a:tr>
              <a:tr h="19132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هانی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Haney, 2002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7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09781531"/>
                  </a:ext>
                </a:extLst>
              </a:tr>
              <a:tr h="185716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اِشِن‌والد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fa-I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Schönwald, 2003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8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9610606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نیلسون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 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EIU, 2003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9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3855384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آمادگي يادگيري الكترونيكي </a:t>
                      </a:r>
                      <a:r>
                        <a:rPr lang="fa-I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IU, 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004</a:t>
                      </a:r>
                      <a:r>
                        <a:rPr lang="fa-I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1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67389759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گروه دانش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Worknowledge, 2004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11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42243435"/>
                  </a:ext>
                </a:extLst>
              </a:tr>
              <a:tr h="275259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تركيبي آمادگي براي پذيرش يادگيري الكترونيكي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orotis &amp; Poulimenakou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, 2004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1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98623825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ارزیابی آمادگی الکترونیکی کول </a:t>
                      </a:r>
                      <a:r>
                        <a:rPr lang="fa-I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loete, 2004</a:t>
                      </a:r>
                      <a:r>
                        <a:rPr lang="fa-I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1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66014530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ارزیابی یادگیری الکترونیکی کور و واتی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Kaur &amp; Zoraini Wati, 2004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14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841011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8934379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45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2"/>
          <p:cNvSpPr txBox="1">
            <a:spLocks/>
          </p:cNvSpPr>
          <p:nvPr/>
        </p:nvSpPr>
        <p:spPr>
          <a:xfrm>
            <a:off x="551384" y="-19461"/>
            <a:ext cx="10873208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a-IR" sz="3200" b="0" i="0" u="none" strike="noStrike" kern="1200" cap="none" spc="0" normalizeH="0" baseline="0" noProof="0" dirty="0">
                <a:ln>
                  <a:noFill/>
                </a:ln>
                <a:solidFill>
                  <a:srgbClr val="FFFF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مقایسۀ ابعاد آمادگی الکترونیکی در مدل‌های </a:t>
            </a:r>
            <a:r>
              <a:rPr kumimoji="0" lang="fa-IR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مختلف </a:t>
            </a:r>
            <a:r>
              <a:rPr kumimoji="0" lang="fa-IR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(ادامه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j-ea"/>
              <a:cs typeface="B Titr" panose="00000700000000000000" pitchFamily="2" charset="-78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-456728" y="6206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205521"/>
              </p:ext>
            </p:extLst>
          </p:nvPr>
        </p:nvGraphicFramePr>
        <p:xfrm>
          <a:off x="7" y="881117"/>
          <a:ext cx="12191993" cy="5958840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335354">
                  <a:extLst>
                    <a:ext uri="{9D8B030D-6E8A-4147-A177-3AD203B41FA5}">
                      <a16:colId xmlns:a16="http://schemas.microsoft.com/office/drawing/2014/main" xmlns="" val="3849843485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xmlns="" val="1414231853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xmlns="" val="4223456340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xmlns="" val="2411356609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247307326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xmlns="" val="198855141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xmlns="" val="366288011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2132750118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xmlns="" val="269960750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xmlns="" val="566982706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xmlns="" val="3854061533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xmlns="" val="3474425795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3215710164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3735895911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xmlns="" val="1910351541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xmlns="" val="383450672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455456402"/>
                    </a:ext>
                  </a:extLst>
                </a:gridCol>
                <a:gridCol w="4785905">
                  <a:extLst>
                    <a:ext uri="{9D8B030D-6E8A-4147-A177-3AD203B41FA5}">
                      <a16:colId xmlns:a16="http://schemas.microsoft.com/office/drawing/2014/main" xmlns="" val="265641911"/>
                    </a:ext>
                  </a:extLst>
                </a:gridCol>
                <a:gridCol w="373990">
                  <a:extLst>
                    <a:ext uri="{9D8B030D-6E8A-4147-A177-3AD203B41FA5}">
                      <a16:colId xmlns:a16="http://schemas.microsoft.com/office/drawing/2014/main" xmlns="" val="3029834892"/>
                    </a:ext>
                  </a:extLst>
                </a:gridCol>
              </a:tblGrid>
              <a:tr h="748475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یاددهنده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یادگیرنده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سازمان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آگاهی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پداگوژی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پشتیبانی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نظارت و هماهنگی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یریت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استاندارد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قوانین و مقررات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امنیت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نابع انسانی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نابع مالی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فرهنگ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سیاست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حتوا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زیر ساخت فنّاورانه 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                                        </a:t>
                      </a:r>
                      <a:r>
                        <a:rPr lang="ar-SA" sz="1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بُعد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0" marR="0" algn="just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0" marR="0" algn="just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                </a:t>
                      </a:r>
                      <a:r>
                        <a:rPr lang="fa-IR" sz="1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ردیف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24280792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ارزيابي آمادگي براي يادگيري الكترونيكي </a:t>
                      </a:r>
                      <a:r>
                        <a:rPr lang="fa-I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app, 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005</a:t>
                      </a:r>
                      <a:r>
                        <a:rPr lang="fa-I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15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06079491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آمادگي براي دستيابي به يادگيري الكترونيكي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 </a:t>
                      </a:r>
                      <a:r>
                        <a:rPr lang="fa-I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hapnick, 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005</a:t>
                      </a:r>
                      <a:r>
                        <a:rPr lang="fa-I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16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48397844"/>
                  </a:ext>
                </a:extLst>
              </a:tr>
              <a:tr h="164395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آمادگي يادگيري الكترونيكي در سازمان</a:t>
                      </a:r>
                      <a:r>
                        <a:rPr lang="en-US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‌</a:t>
                      </a: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ها </a:t>
                      </a:r>
                      <a:r>
                        <a:rPr lang="fa-I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ydin &amp; Tasci, 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005</a:t>
                      </a:r>
                      <a:r>
                        <a:rPr lang="fa-I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17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09190859"/>
                  </a:ext>
                </a:extLst>
              </a:tr>
              <a:tr h="22274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سایکاریس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Psycharis, 2005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18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0658300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ماچادو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Machado, 2007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19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48449806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لوپِز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Lopes, 2007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3646987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آکاسلان و لاو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Akaslan &amp; Law, 2011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1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18179334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کرامتی و همکاران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Keramati et al., 2011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97936430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داراب و منتظر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Darab &amp; Montazer, 2011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16597739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اومُدا و لوبِگا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 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Omoda &amp; Lubega, 2011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4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24577718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ارزیابی آمادگی الکترونیکی دیوجاک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Divjak et al., 2011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5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79175099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ارزیابی آمادگی الکترونیکی سائِکو و سامسون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Saekow &amp; Samson, 2011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 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6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8596398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الشاهِر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2013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Alshaher, 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7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6544026"/>
                  </a:ext>
                </a:extLst>
              </a:tr>
              <a:tr h="15485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  <a:sym typeface="Wingdings" panose="05000000000000000000" pitchFamily="2" charset="2"/>
                        </a:rPr>
                        <a:t>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دل ارزیابی یادگیری الکترونیکی اوکِچ 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(</a:t>
                      </a: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Oketch et al., 2013</a:t>
                      </a:r>
                      <a:r>
                        <a:rPr lang="fa-IR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8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29614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4689762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68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Title 2"/>
          <p:cNvSpPr txBox="1">
            <a:spLocks/>
          </p:cNvSpPr>
          <p:nvPr/>
        </p:nvSpPr>
        <p:spPr>
          <a:xfrm>
            <a:off x="1631505" y="52548"/>
            <a:ext cx="8955789" cy="14322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50000"/>
              </a:lnSpc>
            </a:pPr>
            <a:r>
              <a:rPr lang="fa-IR" sz="2800" dirty="0">
                <a:solidFill>
                  <a:srgbClr val="FFFF2F"/>
                </a:solidFill>
                <a:cs typeface="B Titr" panose="00000700000000000000" pitchFamily="2" charset="-78"/>
              </a:rPr>
              <a:t>مدل </a:t>
            </a:r>
            <a:r>
              <a:rPr lang="fa-IR" sz="2800" dirty="0" smtClean="0">
                <a:solidFill>
                  <a:srgbClr val="FFFF2F"/>
                </a:solidFill>
                <a:cs typeface="B Titr" panose="00000700000000000000" pitchFamily="2" charset="-78"/>
              </a:rPr>
              <a:t>ارزیابی </a:t>
            </a:r>
            <a:r>
              <a:rPr lang="fa-IR" sz="2800" dirty="0">
                <a:solidFill>
                  <a:srgbClr val="FFFF2F"/>
                </a:solidFill>
                <a:cs typeface="B Titr" panose="00000700000000000000" pitchFamily="2" charset="-78"/>
              </a:rPr>
              <a:t>آمادگي یادگیری الكترونيكي </a:t>
            </a:r>
            <a:r>
              <a:rPr lang="fa-IR" sz="2800" dirty="0">
                <a:solidFill>
                  <a:srgbClr val="B4FF8F"/>
                </a:solidFill>
                <a:cs typeface="B Titr" panose="00000700000000000000" pitchFamily="2" charset="-78"/>
              </a:rPr>
              <a:t>(مدل آموزه</a:t>
            </a:r>
            <a:r>
              <a:rPr lang="fa-IR" sz="2800" dirty="0" smtClean="0">
                <a:solidFill>
                  <a:srgbClr val="B4FF8F"/>
                </a:solidFill>
                <a:cs typeface="B Titr" panose="00000700000000000000" pitchFamily="2" charset="-78"/>
              </a:rPr>
              <a:t>) </a:t>
            </a:r>
          </a:p>
          <a:p>
            <a:pPr lvl="0">
              <a:lnSpc>
                <a:spcPct val="150000"/>
              </a:lnSpc>
            </a:pPr>
            <a:r>
              <a:rPr lang="fa-IR" sz="2800" dirty="0" smtClean="0">
                <a:solidFill>
                  <a:srgbClr val="FFC000"/>
                </a:solidFill>
                <a:cs typeface="B Titr" panose="00000700000000000000" pitchFamily="2" charset="-78"/>
              </a:rPr>
              <a:t>سطح </a:t>
            </a:r>
            <a:r>
              <a:rPr lang="fa-IR" sz="2800" dirty="0">
                <a:solidFill>
                  <a:srgbClr val="FFC000"/>
                </a:solidFill>
                <a:cs typeface="B Titr" panose="00000700000000000000" pitchFamily="2" charset="-78"/>
              </a:rPr>
              <a:t>اول </a:t>
            </a:r>
            <a:r>
              <a:rPr lang="fa-IR" sz="2800" dirty="0" smtClean="0">
                <a:solidFill>
                  <a:srgbClr val="FFC000"/>
                </a:solidFill>
                <a:cs typeface="B Titr" panose="00000700000000000000" pitchFamily="2" charset="-78"/>
              </a:rPr>
              <a:t>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cs typeface="B Titr" panose="00000700000000000000" pitchFamily="2" charset="-78"/>
            </a:endParaRPr>
          </a:p>
        </p:txBody>
      </p:sp>
      <p:sp>
        <p:nvSpPr>
          <p:cNvPr id="72" name="TextBox 71"/>
          <p:cNvSpPr txBox="1">
            <a:spLocks noChangeArrowheads="1"/>
          </p:cNvSpPr>
          <p:nvPr/>
        </p:nvSpPr>
        <p:spPr bwMode="auto">
          <a:xfrm flipH="1">
            <a:off x="1589584" y="6299453"/>
            <a:ext cx="522649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2813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33849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uller, 2016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8974" y="52547"/>
            <a:ext cx="13189852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t="44383"/>
          <a:stretch/>
        </p:blipFill>
        <p:spPr>
          <a:xfrm>
            <a:off x="6384033" y="1470386"/>
            <a:ext cx="5688632" cy="52125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/>
          <a:srcRect b="56102"/>
          <a:stretch/>
        </p:blipFill>
        <p:spPr>
          <a:xfrm>
            <a:off x="-30540" y="1556792"/>
            <a:ext cx="6846620" cy="5126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84488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6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2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37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Title 2"/>
          <p:cNvSpPr txBox="1">
            <a:spLocks/>
          </p:cNvSpPr>
          <p:nvPr/>
        </p:nvSpPr>
        <p:spPr>
          <a:xfrm>
            <a:off x="8757162" y="556604"/>
            <a:ext cx="3387510" cy="48886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50000"/>
              </a:lnSpc>
            </a:pPr>
            <a:r>
              <a:rPr kumimoji="0" lang="fa-IR" sz="2800" b="0" i="0" u="none" strike="noStrike" kern="1200" cap="none" spc="0" normalizeH="0" baseline="0" noProof="0" dirty="0">
                <a:ln>
                  <a:noFill/>
                </a:ln>
                <a:solidFill>
                  <a:srgbClr val="FFFF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مدل </a:t>
            </a:r>
            <a:r>
              <a:rPr kumimoji="0" lang="fa-I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 </a:t>
            </a:r>
            <a:r>
              <a:rPr kumimoji="0" lang="fa-IR" sz="2800" b="0" i="0" u="none" strike="noStrike" kern="1200" cap="none" spc="0" normalizeH="0" baseline="0" noProof="0" dirty="0">
                <a:ln>
                  <a:noFill/>
                </a:ln>
                <a:solidFill>
                  <a:srgbClr val="FFFF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ارزیابی آمادگي یادگیری الكترونيكي </a:t>
            </a:r>
            <a:r>
              <a:rPr kumimoji="0" lang="fa-IR" sz="2800" b="0" i="0" u="none" strike="noStrike" kern="1200" cap="none" spc="0" normalizeH="0" baseline="0" noProof="0" dirty="0">
                <a:ln>
                  <a:noFill/>
                </a:ln>
                <a:solidFill>
                  <a:srgbClr val="A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(مدل آموزه</a:t>
            </a:r>
            <a:r>
              <a:rPr kumimoji="0" lang="fa-I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)</a:t>
            </a:r>
            <a:r>
              <a:rPr kumimoji="0" lang="fa-I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 </a:t>
            </a:r>
          </a:p>
          <a:p>
            <a:pPr lvl="0">
              <a:lnSpc>
                <a:spcPct val="150000"/>
              </a:lnSpc>
            </a:pPr>
            <a:r>
              <a:rPr lang="fa-IR" sz="2800" dirty="0" smtClean="0">
                <a:solidFill>
                  <a:srgbClr val="99FF66"/>
                </a:solidFill>
                <a:cs typeface="B Titr" panose="00000700000000000000" pitchFamily="2" charset="-78"/>
              </a:rPr>
              <a:t>سطح </a:t>
            </a:r>
            <a:r>
              <a:rPr lang="fa-IR" sz="2800" dirty="0">
                <a:solidFill>
                  <a:srgbClr val="99FF66"/>
                </a:solidFill>
                <a:cs typeface="B Titr" panose="00000700000000000000" pitchFamily="2" charset="-78"/>
              </a:rPr>
              <a:t>دوم </a:t>
            </a:r>
            <a:r>
              <a:rPr lang="fa-IR" sz="2800" dirty="0" smtClean="0">
                <a:solidFill>
                  <a:srgbClr val="99FF66"/>
                </a:solidFill>
                <a:cs typeface="B Titr" panose="00000700000000000000" pitchFamily="2" charset="-78"/>
              </a:rPr>
              <a:t>مدل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99FF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cs typeface="B Titr" panose="00000700000000000000" pitchFamily="2" charset="-78"/>
            </a:endParaRPr>
          </a:p>
        </p:txBody>
      </p:sp>
      <p:sp>
        <p:nvSpPr>
          <p:cNvPr id="72" name="TextBox 71"/>
          <p:cNvSpPr txBox="1">
            <a:spLocks noChangeArrowheads="1"/>
          </p:cNvSpPr>
          <p:nvPr/>
        </p:nvSpPr>
        <p:spPr bwMode="auto">
          <a:xfrm flipH="1">
            <a:off x="1589584" y="6299453"/>
            <a:ext cx="522649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2813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33849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uller, 2016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8974" y="52547"/>
            <a:ext cx="13189852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38472" y="98266"/>
            <a:ext cx="8721824" cy="6709372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Object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96534531"/>
              </p:ext>
            </p:extLst>
          </p:nvPr>
        </p:nvGraphicFramePr>
        <p:xfrm>
          <a:off x="38472" y="17900"/>
          <a:ext cx="8721824" cy="67432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38" r:id="rId7" imgW="8743947" imgH="8000858" progId="Visio.Drawing.15">
                  <p:embed/>
                </p:oleObj>
              </mc:Choice>
              <mc:Fallback>
                <p:oleObj r:id="rId7" imgW="8743947" imgH="8000858" progId="Visio.Drawing.15">
                  <p:embed/>
                  <p:pic>
                    <p:nvPicPr>
                      <p:cNvPr id="11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472" y="17900"/>
                        <a:ext cx="8721824" cy="674321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73510073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6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3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Title 2"/>
          <p:cNvSpPr txBox="1">
            <a:spLocks/>
          </p:cNvSpPr>
          <p:nvPr/>
        </p:nvSpPr>
        <p:spPr>
          <a:xfrm>
            <a:off x="1631505" y="52548"/>
            <a:ext cx="8955789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a-IR" sz="2800" dirty="0">
                <a:solidFill>
                  <a:srgbClr val="FFFF2F"/>
                </a:solidFill>
                <a:cs typeface="B Titr" panose="00000700000000000000" pitchFamily="2" charset="-78"/>
              </a:rPr>
              <a:t>وجوه تمرکز در طراحي مدل </a:t>
            </a:r>
            <a:r>
              <a:rPr lang="fa-IR" sz="2800" dirty="0" smtClean="0">
                <a:solidFill>
                  <a:srgbClr val="FFC000"/>
                </a:solidFill>
                <a:cs typeface="B Titr" panose="00000700000000000000" pitchFamily="2" charset="-78"/>
              </a:rPr>
              <a:t>آموزه</a:t>
            </a:r>
            <a:endParaRPr lang="en-US" sz="2800" dirty="0">
              <a:solidFill>
                <a:srgbClr val="FFC000"/>
              </a:solidFill>
              <a:cs typeface="B Titr" panose="00000700000000000000" pitchFamily="2" charset="-78"/>
            </a:endParaRPr>
          </a:p>
        </p:txBody>
      </p:sp>
      <p:sp>
        <p:nvSpPr>
          <p:cNvPr id="72" name="TextBox 71"/>
          <p:cNvSpPr txBox="1">
            <a:spLocks noChangeArrowheads="1"/>
          </p:cNvSpPr>
          <p:nvPr/>
        </p:nvSpPr>
        <p:spPr bwMode="auto">
          <a:xfrm flipH="1">
            <a:off x="1589584" y="6299453"/>
            <a:ext cx="522649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en-US" altLang="en-US" sz="1600" b="1" dirty="0">
                <a:solidFill>
                  <a:srgbClr val="03384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ller, 2016</a:t>
            </a: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65663680"/>
              </p:ext>
            </p:extLst>
          </p:nvPr>
        </p:nvGraphicFramePr>
        <p:xfrm>
          <a:off x="191344" y="1007199"/>
          <a:ext cx="11593288" cy="5728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4" r:id="rId8" imgW="6781684" imgH="3819444" progId="Visio.Drawing.15">
                  <p:embed/>
                </p:oleObj>
              </mc:Choice>
              <mc:Fallback>
                <p:oleObj r:id="rId8" imgW="6781684" imgH="3819444" progId="Visio.Drawing.15">
                  <p:embed/>
                  <p:pic>
                    <p:nvPicPr>
                      <p:cNvPr id="0" name="Object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1344" y="1007199"/>
                        <a:ext cx="11593288" cy="5728213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72804239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16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Title 2"/>
          <p:cNvSpPr txBox="1">
            <a:spLocks/>
          </p:cNvSpPr>
          <p:nvPr/>
        </p:nvSpPr>
        <p:spPr>
          <a:xfrm>
            <a:off x="1271464" y="764705"/>
            <a:ext cx="9333685" cy="55347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 rtl="1">
              <a:lnSpc>
                <a:spcPct val="150000"/>
              </a:lnSpc>
            </a:pPr>
            <a:endParaRPr lang="fa-IR" sz="4000" dirty="0" smtClean="0">
              <a:solidFill>
                <a:srgbClr val="FFC000"/>
              </a:solidFill>
              <a:cs typeface="B Titr" panose="00000700000000000000" pitchFamily="2" charset="-78"/>
            </a:endParaRPr>
          </a:p>
          <a:p>
            <a:pPr lvl="0" rtl="1">
              <a:lnSpc>
                <a:spcPct val="150000"/>
              </a:lnSpc>
            </a:pPr>
            <a:r>
              <a:rPr lang="fa-IR" sz="4000" dirty="0" smtClean="0">
                <a:solidFill>
                  <a:srgbClr val="FFC000"/>
                </a:solidFill>
                <a:cs typeface="B Titr" panose="00000700000000000000" pitchFamily="2" charset="-78"/>
              </a:rPr>
              <a:t>سطح سوم مدل</a:t>
            </a:r>
          </a:p>
          <a:p>
            <a:pPr lvl="0" rtl="1">
              <a:lnSpc>
                <a:spcPct val="150000"/>
              </a:lnSpc>
            </a:pPr>
            <a:r>
              <a:rPr lang="fa-IR" sz="4000" dirty="0" smtClean="0">
                <a:solidFill>
                  <a:srgbClr val="FFFF2F"/>
                </a:solidFill>
                <a:cs typeface="B Titr" panose="00000700000000000000" pitchFamily="2" charset="-78"/>
              </a:rPr>
              <a:t>  </a:t>
            </a:r>
            <a:r>
              <a:rPr lang="fa-IR" sz="3600" dirty="0" smtClean="0">
                <a:solidFill>
                  <a:srgbClr val="FFFF2F"/>
                </a:solidFill>
                <a:cs typeface="B Titr" panose="00000700000000000000" pitchFamily="2" charset="-78"/>
              </a:rPr>
              <a:t>19 شاخص‌ </a:t>
            </a:r>
          </a:p>
          <a:p>
            <a:pPr lvl="0" rtl="1">
              <a:lnSpc>
                <a:spcPct val="150000"/>
              </a:lnSpc>
            </a:pPr>
            <a:r>
              <a:rPr lang="fa-IR" sz="3600" dirty="0">
                <a:solidFill>
                  <a:srgbClr val="FFFF2F"/>
                </a:solidFill>
                <a:cs typeface="B Titr" panose="00000700000000000000" pitchFamily="2" charset="-78"/>
              </a:rPr>
              <a:t> 31 معیار </a:t>
            </a:r>
            <a:r>
              <a:rPr lang="fa-IR" sz="3600" dirty="0" smtClean="0">
                <a:solidFill>
                  <a:srgbClr val="FFFF2F"/>
                </a:solidFill>
                <a:cs typeface="B Titr" panose="00000700000000000000" pitchFamily="2" charset="-78"/>
              </a:rPr>
              <a:t>اصلی</a:t>
            </a:r>
            <a:endParaRPr lang="fa-IR" sz="3600" dirty="0">
              <a:solidFill>
                <a:srgbClr val="FFFF2F"/>
              </a:solidFill>
              <a:cs typeface="B Titr" panose="00000700000000000000" pitchFamily="2" charset="-78"/>
            </a:endParaRPr>
          </a:p>
          <a:p>
            <a:pPr lvl="0" rtl="1">
              <a:lnSpc>
                <a:spcPct val="150000"/>
              </a:lnSpc>
            </a:pPr>
            <a:endParaRPr lang="fa-IR" sz="4000" dirty="0" smtClean="0">
              <a:solidFill>
                <a:srgbClr val="FF0000"/>
              </a:solidFill>
              <a:cs typeface="B Titr" panose="00000700000000000000" pitchFamily="2" charset="-78"/>
            </a:endParaRPr>
          </a:p>
          <a:p>
            <a:pPr lvl="0" rtl="1">
              <a:lnSpc>
                <a:spcPct val="150000"/>
              </a:lnSpc>
            </a:pPr>
            <a:r>
              <a:rPr lang="fa-IR" sz="4000" dirty="0" smtClean="0">
                <a:solidFill>
                  <a:srgbClr val="FFC000"/>
                </a:solidFill>
                <a:cs typeface="B Titr" panose="00000700000000000000" pitchFamily="2" charset="-78"/>
              </a:rPr>
              <a:t>سطح چهارم </a:t>
            </a:r>
            <a:r>
              <a:rPr lang="fa-IR" sz="4000" dirty="0">
                <a:solidFill>
                  <a:srgbClr val="FFC000"/>
                </a:solidFill>
                <a:cs typeface="B Titr" panose="00000700000000000000" pitchFamily="2" charset="-78"/>
              </a:rPr>
              <a:t>مدل</a:t>
            </a:r>
          </a:p>
          <a:p>
            <a:pPr lvl="0" rtl="1">
              <a:lnSpc>
                <a:spcPct val="150000"/>
              </a:lnSpc>
            </a:pPr>
            <a:r>
              <a:rPr lang="fa-IR" sz="3600" dirty="0" smtClean="0">
                <a:solidFill>
                  <a:srgbClr val="FFFF2F"/>
                </a:solidFill>
                <a:cs typeface="B Titr" panose="00000700000000000000" pitchFamily="2" charset="-78"/>
              </a:rPr>
              <a:t>272 سنجه  </a:t>
            </a:r>
            <a:endParaRPr lang="fa-IR" sz="3600" dirty="0">
              <a:solidFill>
                <a:srgbClr val="FFFF2F"/>
              </a:solidFill>
              <a:cs typeface="B Titr" panose="00000700000000000000" pitchFamily="2" charset="-78"/>
            </a:endParaRPr>
          </a:p>
          <a:p>
            <a:pPr lvl="0" rtl="1">
              <a:lnSpc>
                <a:spcPct val="150000"/>
              </a:lnSpc>
            </a:pPr>
            <a:r>
              <a:rPr lang="fa-IR" sz="4000" dirty="0" smtClean="0">
                <a:solidFill>
                  <a:srgbClr val="FFFF2F"/>
                </a:solidFill>
                <a:cs typeface="B Titr" panose="00000700000000000000" pitchFamily="2" charset="-78"/>
              </a:rPr>
              <a:t> </a:t>
            </a:r>
          </a:p>
        </p:txBody>
      </p:sp>
      <p:sp>
        <p:nvSpPr>
          <p:cNvPr id="72" name="TextBox 71"/>
          <p:cNvSpPr txBox="1">
            <a:spLocks noChangeArrowheads="1"/>
          </p:cNvSpPr>
          <p:nvPr/>
        </p:nvSpPr>
        <p:spPr bwMode="auto">
          <a:xfrm flipH="1">
            <a:off x="1589584" y="6299453"/>
            <a:ext cx="522649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2813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33849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uller, 2016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8974" y="52547"/>
            <a:ext cx="13189852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3568800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6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6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6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9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Title 2"/>
          <p:cNvSpPr txBox="1">
            <a:spLocks/>
          </p:cNvSpPr>
          <p:nvPr/>
        </p:nvSpPr>
        <p:spPr>
          <a:xfrm>
            <a:off x="7640132" y="-819472"/>
            <a:ext cx="4566420" cy="33123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a-IR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سطوح آمادگی یادگیری الکترونیکی در مدل </a:t>
            </a:r>
            <a:r>
              <a:rPr kumimoji="0" lang="fa-IR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آموزه</a:t>
            </a:r>
          </a:p>
        </p:txBody>
      </p:sp>
      <p:sp>
        <p:nvSpPr>
          <p:cNvPr id="72" name="TextBox 71"/>
          <p:cNvSpPr txBox="1">
            <a:spLocks noChangeArrowheads="1"/>
          </p:cNvSpPr>
          <p:nvPr/>
        </p:nvSpPr>
        <p:spPr bwMode="auto">
          <a:xfrm flipH="1">
            <a:off x="1589584" y="6299453"/>
            <a:ext cx="522649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2813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33849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uller, 2016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8974" y="52547"/>
            <a:ext cx="13189852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52547"/>
            <a:ext cx="8400256" cy="687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02290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36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Title 2"/>
          <p:cNvSpPr txBox="1">
            <a:spLocks/>
          </p:cNvSpPr>
          <p:nvPr/>
        </p:nvSpPr>
        <p:spPr>
          <a:xfrm>
            <a:off x="1572423" y="-963488"/>
            <a:ext cx="9278904" cy="33123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a-IR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سطوح آمادگی  در مدل </a:t>
            </a:r>
            <a:r>
              <a:rPr kumimoji="0" lang="fa-IR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B Titr" panose="00000700000000000000" pitchFamily="2" charset="-78"/>
              </a:rPr>
              <a:t>آموزه</a:t>
            </a:r>
          </a:p>
        </p:txBody>
      </p:sp>
      <p:sp>
        <p:nvSpPr>
          <p:cNvPr id="72" name="TextBox 71"/>
          <p:cNvSpPr txBox="1">
            <a:spLocks noChangeArrowheads="1"/>
          </p:cNvSpPr>
          <p:nvPr/>
        </p:nvSpPr>
        <p:spPr bwMode="auto">
          <a:xfrm flipH="1">
            <a:off x="1589584" y="6299453"/>
            <a:ext cx="522649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2813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33849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uller, 2016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8974" y="52547"/>
            <a:ext cx="13189852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6224738"/>
              </p:ext>
            </p:extLst>
          </p:nvPr>
        </p:nvGraphicFramePr>
        <p:xfrm>
          <a:off x="423340" y="1268760"/>
          <a:ext cx="11217276" cy="5421251"/>
        </p:xfrm>
        <a:graphic>
          <a:graphicData uri="http://schemas.openxmlformats.org/drawingml/2006/table">
            <a:tbl>
              <a:tblPr rtl="1" firstRow="1" firstCol="1" bandRow="1"/>
              <a:tblGrid>
                <a:gridCol w="1841920">
                  <a:extLst>
                    <a:ext uri="{9D8B030D-6E8A-4147-A177-3AD203B41FA5}">
                      <a16:colId xmlns:a16="http://schemas.microsoft.com/office/drawing/2014/main" xmlns="" val="1555510122"/>
                    </a:ext>
                  </a:extLst>
                </a:gridCol>
                <a:gridCol w="2125156">
                  <a:extLst>
                    <a:ext uri="{9D8B030D-6E8A-4147-A177-3AD203B41FA5}">
                      <a16:colId xmlns:a16="http://schemas.microsoft.com/office/drawing/2014/main" xmlns="" val="1024283787"/>
                    </a:ext>
                  </a:extLst>
                </a:gridCol>
                <a:gridCol w="2464922">
                  <a:extLst>
                    <a:ext uri="{9D8B030D-6E8A-4147-A177-3AD203B41FA5}">
                      <a16:colId xmlns:a16="http://schemas.microsoft.com/office/drawing/2014/main" xmlns="" val="2861709029"/>
                    </a:ext>
                  </a:extLst>
                </a:gridCol>
                <a:gridCol w="4785278">
                  <a:extLst>
                    <a:ext uri="{9D8B030D-6E8A-4147-A177-3AD203B41FA5}">
                      <a16:colId xmlns:a16="http://schemas.microsoft.com/office/drawing/2014/main" xmlns="" val="541856580"/>
                    </a:ext>
                  </a:extLst>
                </a:gridCol>
              </a:tblGrid>
              <a:tr h="707120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سطح آمادگی یادگیری الکترونیکی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عنوان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بُعد مدل </a:t>
                      </a:r>
                      <a:r>
                        <a:rPr lang="fa-IR" sz="18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 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شاخص‌های ارزیابی </a:t>
                      </a:r>
                      <a:r>
                        <a:rPr lang="fa-IR" sz="18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 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86692199"/>
                  </a:ext>
                </a:extLst>
              </a:tr>
              <a:tr h="1414240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1</a:t>
                      </a:r>
                      <a:r>
                        <a:rPr lang="en-US" sz="2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ELL</a:t>
                      </a:r>
                      <a:endParaRPr lang="en-US" sz="3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آمادگی زیرساختی </a:t>
                      </a:r>
                      <a:endParaRPr lang="en-US" sz="2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زیرساخت</a:t>
                      </a:r>
                      <a:endParaRPr lang="en-US" sz="2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شش </a:t>
                      </a:r>
                      <a:r>
                        <a:rPr lang="fa-IR" sz="20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شاخص: </a:t>
                      </a: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«سخت‌افزار»، «نرم‌افزار»، «امنیت»، «اتصال»، «انعطاف</a:t>
                      </a:r>
                      <a:r>
                        <a:rPr lang="en-US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‌</a:t>
                      </a: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پذیری سامانه» و «فضاهای فیزیکی»</a:t>
                      </a:r>
                      <a:endParaRPr lang="en-US" sz="2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94706433"/>
                  </a:ext>
                </a:extLst>
              </a:tr>
              <a:tr h="942826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2</a:t>
                      </a:r>
                      <a:r>
                        <a:rPr lang="en-US" sz="2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ELL</a:t>
                      </a:r>
                      <a:endParaRPr lang="en-US" sz="3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آمادگی انسانی</a:t>
                      </a:r>
                      <a:endParaRPr lang="en-US" sz="2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منابع انسانی</a:t>
                      </a:r>
                      <a:endParaRPr lang="en-US" sz="2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سه </a:t>
                      </a:r>
                      <a:r>
                        <a:rPr lang="fa-IR" sz="20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شاخص: </a:t>
                      </a: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«یادگیرندگان»، «یاددهندگان» و «کارکنان» </a:t>
                      </a:r>
                      <a:endParaRPr lang="en-US" sz="2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21460106"/>
                  </a:ext>
                </a:extLst>
              </a:tr>
              <a:tr h="471413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ELL3</a:t>
                      </a:r>
                      <a:endParaRPr lang="en-US" sz="3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آمادگی محتوایی</a:t>
                      </a:r>
                      <a:endParaRPr lang="en-US" sz="2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هدایت</a:t>
                      </a: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‌</a:t>
                      </a: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گری (یاددهی)</a:t>
                      </a:r>
                      <a:endParaRPr lang="en-US" sz="2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دو </a:t>
                      </a:r>
                      <a:r>
                        <a:rPr lang="fa-IR" sz="20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شاخص: </a:t>
                      </a: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«پداگوژی» و «محتوای دیجیتالی»</a:t>
                      </a:r>
                      <a:endParaRPr lang="en-US" sz="2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2008389"/>
                  </a:ext>
                </a:extLst>
              </a:tr>
              <a:tr h="942826">
                <a:tc rowSpan="2"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4</a:t>
                      </a:r>
                      <a:r>
                        <a:rPr lang="en-US" sz="2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ELL</a:t>
                      </a:r>
                      <a:endParaRPr lang="en-US" sz="3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آمادگی سازمانی</a:t>
                      </a:r>
                      <a:endParaRPr lang="en-US" sz="2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آورده‌ها</a:t>
                      </a:r>
                      <a:endParaRPr lang="en-US" sz="2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سه </a:t>
                      </a:r>
                      <a:r>
                        <a:rPr lang="fa-IR" sz="20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شاخص: </a:t>
                      </a: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«سیاست»، «خدمات پشتیبانی» و «منابع مالی» </a:t>
                      </a:r>
                      <a:endParaRPr lang="en-US" sz="2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41933505"/>
                  </a:ext>
                </a:extLst>
              </a:tr>
              <a:tr h="9428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واحد آموزشی (سازمان)</a:t>
                      </a:r>
                      <a:endParaRPr lang="en-US" sz="2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پنج </a:t>
                      </a:r>
                      <a:r>
                        <a:rPr lang="fa-IR" sz="20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شاخص: </a:t>
                      </a:r>
                      <a:r>
                        <a:rPr lang="fa-IR" sz="2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Zar" panose="00000400000000000000" pitchFamily="2" charset="-78"/>
                        </a:rPr>
                        <a:t>«قوانین و مقررات»، «فرهنگ»، «استاندارد»، «مدیریت» و «نظارت و هماهنگی»</a:t>
                      </a:r>
                      <a:endParaRPr lang="en-US" sz="2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40095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903413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835" y="254001"/>
            <a:ext cx="11218333" cy="3070071"/>
          </a:xfrm>
        </p:spPr>
        <p:txBody>
          <a:bodyPr/>
          <a:lstStyle/>
          <a:p>
            <a:pPr algn="ctr" rtl="1"/>
            <a:r>
              <a:rPr lang="fa-IR" sz="4000" dirty="0" smtClean="0">
                <a:solidFill>
                  <a:srgbClr val="7030A0"/>
                </a:solidFill>
                <a:latin typeface="IranNastaliq" panose="02020505000000020003" pitchFamily="18" charset="0"/>
                <a:cs typeface="IranNastaliq" panose="02020505000000020003" pitchFamily="18" charset="0"/>
              </a:rPr>
              <a:t/>
            </a:r>
            <a:br>
              <a:rPr lang="fa-IR" sz="4000" dirty="0" smtClean="0">
                <a:solidFill>
                  <a:srgbClr val="7030A0"/>
                </a:solidFill>
                <a:latin typeface="IranNastaliq" panose="02020505000000020003" pitchFamily="18" charset="0"/>
                <a:cs typeface="IranNastaliq" panose="02020505000000020003" pitchFamily="18" charset="0"/>
              </a:rPr>
            </a:br>
            <a:r>
              <a:rPr lang="fa-IR" sz="4000" dirty="0">
                <a:solidFill>
                  <a:srgbClr val="7030A0"/>
                </a:solidFill>
                <a:latin typeface="IranNastaliq" panose="02020505000000020003" pitchFamily="18" charset="0"/>
                <a:cs typeface="IranNastaliq" panose="02020505000000020003" pitchFamily="18" charset="0"/>
              </a:rPr>
              <a:t/>
            </a:r>
            <a:br>
              <a:rPr lang="fa-IR" sz="4000" dirty="0">
                <a:solidFill>
                  <a:srgbClr val="7030A0"/>
                </a:solidFill>
                <a:latin typeface="IranNastaliq" panose="02020505000000020003" pitchFamily="18" charset="0"/>
                <a:cs typeface="IranNastaliq" panose="02020505000000020003" pitchFamily="18" charset="0"/>
              </a:rPr>
            </a:br>
            <a:r>
              <a:rPr lang="fa-IR" sz="4000" dirty="0" smtClean="0">
                <a:solidFill>
                  <a:srgbClr val="7030A0"/>
                </a:solidFill>
                <a:latin typeface="IranNastaliq" panose="02020505000000020003" pitchFamily="18" charset="0"/>
                <a:cs typeface="IranNastaliq" panose="02020505000000020003" pitchFamily="18" charset="0"/>
              </a:rPr>
              <a:t/>
            </a:r>
            <a:br>
              <a:rPr lang="fa-IR" sz="4000" dirty="0" smtClean="0">
                <a:solidFill>
                  <a:srgbClr val="7030A0"/>
                </a:solidFill>
                <a:latin typeface="IranNastaliq" panose="02020505000000020003" pitchFamily="18" charset="0"/>
                <a:cs typeface="IranNastaliq" panose="02020505000000020003" pitchFamily="18" charset="0"/>
              </a:rPr>
            </a:br>
            <a:r>
              <a:rPr lang="fa-IR" sz="4000" dirty="0">
                <a:solidFill>
                  <a:srgbClr val="7030A0"/>
                </a:solidFill>
                <a:latin typeface="IranNastaliq" panose="02020505000000020003" pitchFamily="18" charset="0"/>
                <a:cs typeface="IranNastaliq" panose="02020505000000020003" pitchFamily="18" charset="0"/>
              </a:rPr>
              <a:t/>
            </a:r>
            <a:br>
              <a:rPr lang="fa-IR" sz="4000" dirty="0">
                <a:solidFill>
                  <a:srgbClr val="7030A0"/>
                </a:solidFill>
                <a:latin typeface="IranNastaliq" panose="02020505000000020003" pitchFamily="18" charset="0"/>
                <a:cs typeface="IranNastaliq" panose="02020505000000020003" pitchFamily="18" charset="0"/>
              </a:rPr>
            </a:br>
            <a:r>
              <a:rPr lang="fa-IR" sz="6000" dirty="0" smtClean="0">
                <a:solidFill>
                  <a:srgbClr val="0070C0"/>
                </a:solidFill>
                <a:latin typeface="IranNastaliq" panose="02020505000000020003" pitchFamily="18" charset="0"/>
                <a:cs typeface="IranNastaliq" panose="02020505000000020003" pitchFamily="18" charset="0"/>
              </a:rPr>
              <a:t>والحمدللّه ربّ  العالمین</a:t>
            </a:r>
            <a:endParaRPr lang="en-US" sz="6000" dirty="0">
              <a:solidFill>
                <a:srgbClr val="0070C0"/>
              </a:solidFill>
              <a:latin typeface="IranNastaliq" panose="02020505000000020003" pitchFamily="18" charset="0"/>
              <a:cs typeface="IranNastaliq" panose="020205050000000200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948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301544" y="696421"/>
            <a:ext cx="3143473" cy="715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fa-IR" altLang="en-US" sz="4000" dirty="0" smtClean="0">
                <a:solidFill>
                  <a:srgbClr val="006666"/>
                </a:solidFill>
                <a:cs typeface="B Titr" panose="00000700000000000000" pitchFamily="2" charset="-78"/>
              </a:rPr>
              <a:t>فهرست مطالب</a:t>
            </a:r>
            <a:endParaRPr lang="en-US" altLang="en-US" sz="4000" dirty="0" smtClean="0">
              <a:solidFill>
                <a:srgbClr val="006666"/>
              </a:solidFill>
              <a:cs typeface="B Titr" panose="00000700000000000000" pitchFamily="2" charset="-78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47528" y="1610433"/>
            <a:ext cx="8629950" cy="470898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 algn="r" defTabSz="457200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a-IR" sz="2000" b="1" dirty="0" smtClean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Zar" panose="00000400000000000000" pitchFamily="2" charset="-78"/>
              </a:rPr>
              <a:t>مقدمه</a:t>
            </a:r>
          </a:p>
          <a:p>
            <a:pPr marL="342900" indent="-342900" algn="r" defTabSz="457200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a-IR" sz="2000" b="1" dirty="0" smtClean="0">
                <a:solidFill>
                  <a:srgbClr val="C00000"/>
                </a:solidFill>
                <a:latin typeface="Arial" pitchFamily="34" charset="0"/>
                <a:cs typeface="B Zar" panose="00000400000000000000" pitchFamily="2" charset="-78"/>
              </a:rPr>
              <a:t>یادگیری الکترونیکی</a:t>
            </a:r>
          </a:p>
          <a:p>
            <a:pPr marL="342900" indent="-342900" algn="r" defTabSz="457200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a-IR" sz="2000" b="1" dirty="0" smtClean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Zar" panose="00000400000000000000" pitchFamily="2" charset="-78"/>
              </a:rPr>
              <a:t>بخش‌بندی </a:t>
            </a:r>
            <a:r>
              <a:rPr lang="fa-IR" sz="2000" b="1" dirty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Zar" panose="00000400000000000000" pitchFamily="2" charset="-78"/>
              </a:rPr>
              <a:t>صنعت يادگيري الکترونيکي </a:t>
            </a:r>
          </a:p>
          <a:p>
            <a:pPr marL="342900" indent="-342900" algn="r" defTabSz="457200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a-IR" sz="2000" b="1" dirty="0">
                <a:solidFill>
                  <a:srgbClr val="C00000"/>
                </a:solidFill>
                <a:latin typeface="Arial" pitchFamily="34" charset="0"/>
                <a:cs typeface="B Zar" panose="00000400000000000000" pitchFamily="2" charset="-78"/>
              </a:rPr>
              <a:t>بازار يادگيري </a:t>
            </a:r>
            <a:r>
              <a:rPr lang="fa-IR" sz="2000" b="1" dirty="0" smtClean="0">
                <a:solidFill>
                  <a:srgbClr val="C00000"/>
                </a:solidFill>
                <a:latin typeface="Arial" pitchFamily="34" charset="0"/>
                <a:cs typeface="B Zar" panose="00000400000000000000" pitchFamily="2" charset="-78"/>
              </a:rPr>
              <a:t>الکترونيکي</a:t>
            </a:r>
          </a:p>
          <a:p>
            <a:pPr marL="342900" indent="-342900" algn="r" defTabSz="457200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a-IR" sz="2000" b="1" dirty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Zar" panose="00000400000000000000" pitchFamily="2" charset="-78"/>
              </a:rPr>
              <a:t>آمادگی يادگيري الکترونيکي</a:t>
            </a:r>
          </a:p>
          <a:p>
            <a:pPr marL="342900" indent="-342900" algn="r" defTabSz="457200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a-IR" sz="2000" b="1" dirty="0">
                <a:solidFill>
                  <a:srgbClr val="C00000"/>
                </a:solidFill>
                <a:latin typeface="Arial" pitchFamily="34" charset="0"/>
                <a:cs typeface="B Zar" panose="00000400000000000000" pitchFamily="2" charset="-78"/>
              </a:rPr>
              <a:t> </a:t>
            </a:r>
            <a:r>
              <a:rPr lang="fa-IR" sz="2000" b="1" dirty="0" smtClean="0">
                <a:solidFill>
                  <a:srgbClr val="C00000"/>
                </a:solidFill>
                <a:latin typeface="Arial" pitchFamily="34" charset="0"/>
                <a:cs typeface="B Zar" panose="00000400000000000000" pitchFamily="2" charset="-78"/>
              </a:rPr>
              <a:t>سیر تطور مدل‌های ارزیابی آمادگی </a:t>
            </a:r>
            <a:r>
              <a:rPr lang="fa-IR" sz="2000" b="1" dirty="0">
                <a:solidFill>
                  <a:srgbClr val="C00000"/>
                </a:solidFill>
                <a:latin typeface="Arial" pitchFamily="34" charset="0"/>
                <a:cs typeface="B Zar" panose="00000400000000000000" pitchFamily="2" charset="-78"/>
              </a:rPr>
              <a:t>يادگيري الکترونيکي </a:t>
            </a:r>
            <a:endParaRPr lang="fa-IR" sz="2000" b="1" dirty="0" smtClean="0">
              <a:solidFill>
                <a:srgbClr val="C00000"/>
              </a:solidFill>
              <a:latin typeface="Arial" pitchFamily="34" charset="0"/>
              <a:cs typeface="B Zar" panose="00000400000000000000" pitchFamily="2" charset="-78"/>
            </a:endParaRPr>
          </a:p>
          <a:p>
            <a:pPr marL="342900" indent="-342900" algn="r" defTabSz="457200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a-IR" sz="2000" b="1" dirty="0" smtClean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Zar" panose="00000400000000000000" pitchFamily="2" charset="-78"/>
              </a:rPr>
              <a:t>مدل‌های ارزیابی آمادگی </a:t>
            </a:r>
            <a:r>
              <a:rPr lang="fa-IR" sz="2000" b="1" dirty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Zar" panose="00000400000000000000" pitchFamily="2" charset="-78"/>
              </a:rPr>
              <a:t>یادگیری </a:t>
            </a:r>
            <a:r>
              <a:rPr lang="fa-IR" sz="2000" b="1" dirty="0" smtClean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Zar" panose="00000400000000000000" pitchFamily="2" charset="-78"/>
              </a:rPr>
              <a:t>الکترونیکی</a:t>
            </a:r>
            <a:endParaRPr lang="fa-IR" sz="2000" b="1" dirty="0">
              <a:solidFill>
                <a:srgbClr val="455F51">
                  <a:lumMod val="75000"/>
                </a:srgbClr>
              </a:solidFill>
              <a:latin typeface="Arial" pitchFamily="34" charset="0"/>
              <a:cs typeface="B Zar" panose="00000400000000000000" pitchFamily="2" charset="-78"/>
            </a:endParaRPr>
          </a:p>
          <a:p>
            <a:pPr marL="342900" indent="-342900" algn="r" defTabSz="457200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a-IR" sz="2000" b="1" dirty="0">
                <a:solidFill>
                  <a:srgbClr val="C00000"/>
                </a:solidFill>
                <a:latin typeface="Arial" pitchFamily="34" charset="0"/>
                <a:cs typeface="B Zar" panose="00000400000000000000" pitchFamily="2" charset="-78"/>
              </a:rPr>
              <a:t>مقایسۀ ابعاد آمادگی الکترونیکی در مدل‌های مختلف</a:t>
            </a:r>
          </a:p>
          <a:p>
            <a:pPr marL="342900" indent="-342900" algn="r" defTabSz="457200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a-IR" sz="2000" b="1" dirty="0" smtClean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Zar" panose="00000400000000000000" pitchFamily="2" charset="-78"/>
              </a:rPr>
              <a:t>معرفی مدل </a:t>
            </a:r>
            <a:r>
              <a:rPr lang="fa-IR" sz="2000" b="1" dirty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Zar" panose="00000400000000000000" pitchFamily="2" charset="-78"/>
              </a:rPr>
              <a:t>پیشنهادی ارزیابی آمادگي یادگیری الكترونيكي (مدل آموزه</a:t>
            </a:r>
            <a:r>
              <a:rPr lang="fa-IR" sz="2000" b="1" dirty="0" smtClean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Zar" panose="00000400000000000000" pitchFamily="2" charset="-78"/>
              </a:rPr>
              <a:t>)</a:t>
            </a:r>
          </a:p>
          <a:p>
            <a:pPr marL="342900" indent="-342900" algn="r" defTabSz="457200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a-IR" sz="2000" b="1" dirty="0">
                <a:solidFill>
                  <a:srgbClr val="C00000"/>
                </a:solidFill>
                <a:latin typeface="Arial" pitchFamily="34" charset="0"/>
                <a:cs typeface="B Zar" panose="00000400000000000000" pitchFamily="2" charset="-78"/>
              </a:rPr>
              <a:t>سطوح آمادگی یادگیری الکترونیکی در مدل آموزه</a:t>
            </a:r>
          </a:p>
        </p:txBody>
      </p:sp>
    </p:spTree>
    <p:extLst>
      <p:ext uri="{BB962C8B-B14F-4D97-AF65-F5344CB8AC3E}">
        <p14:creationId xmlns:p14="http://schemas.microsoft.com/office/powerpoint/2010/main" val="1103400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583832" y="338440"/>
            <a:ext cx="3143473" cy="715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a-IR" altLang="en-US" sz="4000" dirty="0" smtClean="0">
                <a:solidFill>
                  <a:srgbClr val="006666"/>
                </a:solidFill>
                <a:cs typeface="B Titr" panose="00000700000000000000" pitchFamily="2" charset="-78"/>
              </a:rPr>
              <a:t>مقدمه</a:t>
            </a:r>
            <a:endParaRPr lang="en-US" altLang="en-US" sz="4000" dirty="0" smtClean="0">
              <a:solidFill>
                <a:srgbClr val="006666"/>
              </a:solidFill>
              <a:cs typeface="B Titr" panose="00000700000000000000" pitchFamily="2" charset="-78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35360" y="1054402"/>
            <a:ext cx="11305256" cy="53173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q"/>
              <a:defRPr/>
            </a:pPr>
            <a:r>
              <a:rPr lang="fa-IR" b="1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افزایش 5/5 درصدی در هزینه های  تحصیل در جهان</a:t>
            </a:r>
          </a:p>
          <a:p>
            <a:pPr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q"/>
              <a:defRPr/>
            </a:pPr>
            <a:r>
              <a:rPr lang="fa-IR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 </a:t>
            </a:r>
            <a:r>
              <a:rPr lang="fa-IR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متوسط هزینه‌های آموزش عمومی کشورهای مختلف حدود ۱۰ درصد از </a:t>
            </a:r>
            <a:r>
              <a:rPr lang="en-US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GDP</a:t>
            </a:r>
            <a:r>
              <a:rPr lang="fa-IR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 </a:t>
            </a:r>
          </a:p>
          <a:p>
            <a:pPr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q"/>
              <a:defRPr/>
            </a:pPr>
            <a:r>
              <a:rPr lang="fa-IR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  متوسط هزینه‌های آموزش عالی حدود 1/3 درصد از </a:t>
            </a:r>
            <a:r>
              <a:rPr lang="en-US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GDP</a:t>
            </a:r>
            <a:endParaRPr lang="fa-IR" b="1" dirty="0">
              <a:solidFill>
                <a:srgbClr val="0070C0"/>
              </a:solidFill>
              <a:latin typeface="Times New Roman" panose="02020603050405020304" pitchFamily="18" charset="0"/>
              <a:ea typeface="Calibri" panose="020F0502020204030204" pitchFamily="34" charset="0"/>
              <a:cs typeface="B Zar" panose="00000400000000000000" pitchFamily="2" charset="-78"/>
            </a:endParaRPr>
          </a:p>
          <a:p>
            <a:pPr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q"/>
              <a:defRPr/>
            </a:pPr>
            <a:r>
              <a:rPr lang="fa-IR" b="1" dirty="0">
                <a:solidFill>
                  <a:srgbClr val="33CC33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متوسط هزینة  سالیانۀ هر دانش‌آموز 21500 دلار و متوسط هزینة  سالیانۀ هر دانشجو 46500 دلار </a:t>
            </a:r>
            <a:endParaRPr lang="en-US" b="1" dirty="0" smtClean="0">
              <a:solidFill>
                <a:srgbClr val="33CC33"/>
              </a:solidFill>
              <a:latin typeface="Times New Roman" panose="02020603050405020304" pitchFamily="18" charset="0"/>
              <a:ea typeface="Calibri" panose="020F0502020204030204" pitchFamily="34" charset="0"/>
              <a:cs typeface="B Zar" panose="00000400000000000000" pitchFamily="2" charset="-78"/>
            </a:endParaRPr>
          </a:p>
          <a:p>
            <a:pPr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q"/>
              <a:defRPr/>
            </a:pPr>
            <a:r>
              <a:rPr lang="fa-IR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رشد سالیانۀ </a:t>
            </a:r>
            <a:r>
              <a:rPr lang="fa-IR" b="1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14 </a:t>
            </a:r>
            <a:r>
              <a:rPr lang="fa-IR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درصدی سرمایه‌گذاری </a:t>
            </a:r>
            <a:r>
              <a:rPr lang="fa-IR" b="1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در حوزة آموزش عالی </a:t>
            </a:r>
            <a:r>
              <a:rPr lang="fa-IR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(</a:t>
            </a:r>
            <a:r>
              <a:rPr lang="fa-IR" b="1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تأمین </a:t>
            </a:r>
            <a:r>
              <a:rPr lang="fa-IR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حدود </a:t>
            </a:r>
            <a:r>
              <a:rPr lang="fa-IR" b="1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55 درصد آن توسط </a:t>
            </a:r>
            <a:r>
              <a:rPr lang="fa-IR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دولت)</a:t>
            </a:r>
          </a:p>
          <a:p>
            <a:pPr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q"/>
              <a:defRPr/>
            </a:pPr>
            <a:r>
              <a:rPr lang="fa-IR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تفاوت سهم تأمین مالی دولتی در کشورهای مختلف (به عنوان مثال </a:t>
            </a:r>
            <a:r>
              <a:rPr lang="ar-SA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در </a:t>
            </a:r>
            <a:r>
              <a:rPr lang="ar-SA" b="1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فنلاند تقریباً همۀ سرمایه‌گذاری از سوی بخش خصوصی و در انگلستان بیش از ۷۰ درصد آن از سوی دولت </a:t>
            </a:r>
            <a:r>
              <a:rPr lang="ar-SA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تأمین</a:t>
            </a:r>
            <a:r>
              <a:rPr lang="fa-IR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 می شود)</a:t>
            </a:r>
          </a:p>
          <a:p>
            <a:pPr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q"/>
              <a:defRPr/>
            </a:pPr>
            <a:r>
              <a:rPr lang="fa-IR" b="1" dirty="0" smtClean="0">
                <a:solidFill>
                  <a:srgbClr val="7030A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«فنّاوری اطلاعات</a:t>
            </a:r>
            <a:r>
              <a:rPr lang="fa-IR" b="1" dirty="0">
                <a:solidFill>
                  <a:srgbClr val="7030A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» </a:t>
            </a:r>
            <a:r>
              <a:rPr lang="fa-IR" b="1" dirty="0" smtClean="0">
                <a:solidFill>
                  <a:srgbClr val="7030A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اصلی‌ترین پیشران شیوه های </a:t>
            </a:r>
            <a:r>
              <a:rPr lang="fa-IR" b="1" dirty="0">
                <a:solidFill>
                  <a:srgbClr val="7030A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نوین در آموزش و تغییر در الگوهای آموزشی </a:t>
            </a:r>
            <a:r>
              <a:rPr lang="fa-IR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(پیاده‌سازی </a:t>
            </a:r>
            <a:r>
              <a:rPr lang="fa-IR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نظام‌های </a:t>
            </a:r>
            <a:r>
              <a:rPr lang="fa-IR" b="1" dirty="0">
                <a:solidFill>
                  <a:srgbClr val="7030A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یادگیری الکترونیکی </a:t>
            </a:r>
            <a:r>
              <a:rPr lang="fa-IR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در </a:t>
            </a:r>
            <a:r>
              <a:rPr lang="fa-IR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دانشگاه‌های جهان)</a:t>
            </a:r>
          </a:p>
          <a:p>
            <a:pPr marL="0" indent="0" algn="just" rtl="1">
              <a:lnSpc>
                <a:spcPct val="150000"/>
              </a:lnSpc>
              <a:buClr>
                <a:srgbClr val="006666"/>
              </a:buClr>
              <a:buNone/>
              <a:defRPr/>
            </a:pPr>
            <a:endParaRPr lang="en-US" b="1" dirty="0">
              <a:solidFill>
                <a:srgbClr val="455F51">
                  <a:lumMod val="75000"/>
                </a:srgbClr>
              </a:solidFill>
              <a:latin typeface="Calibri" panose="020F0502020204030204" pitchFamily="34" charset="0"/>
              <a:ea typeface="Calibri" panose="020F0502020204030204" pitchFamily="34" charset="0"/>
              <a:cs typeface="B Zar" panose="00000400000000000000" pitchFamily="2" charset="-78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 flipH="1">
            <a:off x="-12879" y="6371786"/>
            <a:ext cx="522649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rtl="1"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en-US" altLang="en-US" sz="1400" b="1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ICEF Botswana: Education Budget Brief </a:t>
            </a:r>
            <a:r>
              <a:rPr lang="en-US" altLang="en-US" sz="1400" b="1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7</a:t>
            </a:r>
            <a:endParaRPr lang="fa-IR" altLang="en-US" sz="1400" b="1" dirty="0" smtClean="0">
              <a:solidFill>
                <a:srgbClr val="0033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1"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en-US" altLang="en-US" sz="1400" b="1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ECD: Education at a Glance 2017 </a:t>
            </a:r>
          </a:p>
        </p:txBody>
      </p:sp>
    </p:spTree>
    <p:extLst>
      <p:ext uri="{BB962C8B-B14F-4D97-AF65-F5344CB8AC3E}">
        <p14:creationId xmlns:p14="http://schemas.microsoft.com/office/powerpoint/2010/main" val="3953263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2135559" y="304862"/>
            <a:ext cx="8136904" cy="100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a-IR" sz="4000" dirty="0">
                <a:solidFill>
                  <a:srgbClr val="006666"/>
                </a:solidFill>
                <a:cs typeface="B Titr" panose="00000700000000000000" pitchFamily="2" charset="-78"/>
              </a:rPr>
              <a:t>يادگيري الکترونيکي</a:t>
            </a:r>
            <a:endParaRPr lang="en-US" sz="4000" dirty="0">
              <a:solidFill>
                <a:srgbClr val="006666"/>
              </a:solidFill>
              <a:cs typeface="B Titr" panose="00000700000000000000" pitchFamily="2" charset="-7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96980" y="1809951"/>
            <a:ext cx="9195516" cy="18158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457200" rtl="1">
              <a:lnSpc>
                <a:spcPct val="150000"/>
              </a:lnSpc>
            </a:pPr>
            <a:r>
              <a:rPr lang="fa-IR" sz="2800" b="1" dirty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Titr" panose="00000700000000000000" pitchFamily="2" charset="-78"/>
              </a:rPr>
              <a:t>رويکردي در آموزش براي تحقق يادگيري </a:t>
            </a:r>
            <a:r>
              <a:rPr lang="fa-IR" sz="2800" b="1" dirty="0">
                <a:solidFill>
                  <a:srgbClr val="0070C0"/>
                </a:solidFill>
                <a:latin typeface="Arial" pitchFamily="34" charset="0"/>
                <a:cs typeface="B Titr" panose="00000700000000000000" pitchFamily="2" charset="-78"/>
              </a:rPr>
              <a:t>مستقل</a:t>
            </a:r>
            <a:r>
              <a:rPr lang="fa-IR" sz="2800" b="1" dirty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Titr" panose="00000700000000000000" pitchFamily="2" charset="-78"/>
              </a:rPr>
              <a:t>، </a:t>
            </a:r>
            <a:r>
              <a:rPr lang="fa-IR" sz="2800" b="1" dirty="0">
                <a:solidFill>
                  <a:srgbClr val="C00000"/>
                </a:solidFill>
                <a:latin typeface="Arial" pitchFamily="34" charset="0"/>
                <a:cs typeface="B Titr" panose="00000700000000000000" pitchFamily="2" charset="-78"/>
              </a:rPr>
              <a:t>منعطف</a:t>
            </a:r>
            <a:r>
              <a:rPr lang="fa-IR" sz="2800" b="1" dirty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Titr" panose="00000700000000000000" pitchFamily="2" charset="-78"/>
              </a:rPr>
              <a:t> و </a:t>
            </a:r>
            <a:r>
              <a:rPr lang="fa-IR" sz="2800" b="1" dirty="0">
                <a:solidFill>
                  <a:srgbClr val="7030A0"/>
                </a:solidFill>
                <a:latin typeface="Arial" pitchFamily="34" charset="0"/>
                <a:cs typeface="B Titr" panose="00000700000000000000" pitchFamily="2" charset="-78"/>
              </a:rPr>
              <a:t>توزيع شده </a:t>
            </a:r>
          </a:p>
          <a:p>
            <a:pPr algn="ctr" defTabSz="457200" rtl="1">
              <a:lnSpc>
                <a:spcPct val="150000"/>
              </a:lnSpc>
            </a:pPr>
            <a:r>
              <a:rPr lang="fa-IR" sz="2800" b="1" dirty="0">
                <a:solidFill>
                  <a:srgbClr val="455F51">
                    <a:lumMod val="75000"/>
                  </a:srgbClr>
                </a:solidFill>
                <a:latin typeface="Arial" pitchFamily="34" charset="0"/>
                <a:cs typeface="B Titr" panose="00000700000000000000" pitchFamily="2" charset="-78"/>
              </a:rPr>
              <a:t>براي هر کس، در هر کجا و هر زمان </a:t>
            </a:r>
          </a:p>
          <a:p>
            <a:pPr algn="ctr" defTabSz="457200" rtl="1">
              <a:lnSpc>
                <a:spcPct val="150000"/>
              </a:lnSpc>
            </a:pPr>
            <a:endParaRPr lang="en-US" sz="2800" b="1" baseline="30000" dirty="0">
              <a:solidFill>
                <a:srgbClr val="455F51">
                  <a:lumMod val="75000"/>
                </a:srgbClr>
              </a:solidFill>
              <a:latin typeface="Arial" pitchFamily="34" charset="0"/>
              <a:cs typeface="B Titr" panose="00000700000000000000" pitchFamily="2" charset="-78"/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889418140"/>
              </p:ext>
            </p:extLst>
          </p:nvPr>
        </p:nvGraphicFramePr>
        <p:xfrm>
          <a:off x="1577751" y="2924944"/>
          <a:ext cx="9252520" cy="40838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/>
          <p:cNvSpPr txBox="1">
            <a:spLocks noChangeArrowheads="1"/>
          </p:cNvSpPr>
          <p:nvPr/>
        </p:nvSpPr>
        <p:spPr bwMode="auto">
          <a:xfrm flipH="1">
            <a:off x="0" y="6437564"/>
            <a:ext cx="5226496" cy="417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rtl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en-US" altLang="en-US" sz="1600" b="1" dirty="0" err="1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valli</a:t>
            </a:r>
            <a:r>
              <a:rPr lang="en-US" altLang="en-US" sz="1600" b="1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&amp; </a:t>
            </a:r>
            <a:r>
              <a:rPr lang="en-US" altLang="en-US" sz="1600" b="1" dirty="0" err="1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ntazer</a:t>
            </a:r>
            <a:r>
              <a:rPr lang="en-US" altLang="en-US" sz="1600" b="1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2011</a:t>
            </a:r>
          </a:p>
        </p:txBody>
      </p:sp>
    </p:spTree>
    <p:extLst>
      <p:ext uri="{BB962C8B-B14F-4D97-AF65-F5344CB8AC3E}">
        <p14:creationId xmlns:p14="http://schemas.microsoft.com/office/powerpoint/2010/main" val="1427648193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6787166" cy="6381289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6117466" y="812331"/>
            <a:ext cx="5577584" cy="715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a-IR" altLang="en-US" sz="2800" dirty="0" smtClean="0">
                <a:solidFill>
                  <a:srgbClr val="006666"/>
                </a:solidFill>
                <a:cs typeface="B Titr" panose="00000700000000000000" pitchFamily="2" charset="-78"/>
              </a:rPr>
              <a:t>بخش‌بندی صنعت </a:t>
            </a:r>
            <a:r>
              <a:rPr lang="fa-IR" altLang="en-US" sz="2800" dirty="0">
                <a:solidFill>
                  <a:srgbClr val="006666"/>
                </a:solidFill>
                <a:cs typeface="B Titr" panose="00000700000000000000" pitchFamily="2" charset="-78"/>
              </a:rPr>
              <a:t>يادگيري الکترونيکي </a:t>
            </a:r>
          </a:p>
        </p:txBody>
      </p:sp>
      <p:sp>
        <p:nvSpPr>
          <p:cNvPr id="9" name="Rectangle 8"/>
          <p:cNvSpPr/>
          <p:nvPr/>
        </p:nvSpPr>
        <p:spPr>
          <a:xfrm>
            <a:off x="6787166" y="2340623"/>
            <a:ext cx="6096000" cy="30469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182880" indent="-274320" defTabSz="4572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DCASTs</a:t>
            </a:r>
          </a:p>
          <a:p>
            <a:pPr marL="182880" indent="-274320" defTabSz="4572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bile E-learning</a:t>
            </a:r>
          </a:p>
          <a:p>
            <a:pPr marL="182880" indent="-274320" defTabSz="4572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-learning Management Systems</a:t>
            </a:r>
          </a:p>
          <a:p>
            <a:pPr marL="182880" indent="-274320" defTabSz="4572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apid Online Learning</a:t>
            </a:r>
          </a:p>
          <a:p>
            <a:pPr marL="182880" indent="-274320" defTabSz="4572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-learning Content Management Systems </a:t>
            </a:r>
          </a:p>
          <a:p>
            <a:pPr marL="182880" indent="-274320" defTabSz="4572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Knowledge Management Systems</a:t>
            </a:r>
          </a:p>
          <a:p>
            <a:pPr marL="182880" indent="-274320" defTabSz="4572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lication </a:t>
            </a:r>
            <a:r>
              <a:rPr lang="en-US" sz="16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mulation Tools</a:t>
            </a:r>
          </a:p>
          <a:p>
            <a:pPr marL="182880" indent="-274320" defTabSz="4572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irtual Classrooms</a:t>
            </a:r>
            <a:endParaRPr lang="en-US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 flipH="1">
            <a:off x="0" y="6437564"/>
            <a:ext cx="5226496" cy="417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rtl="1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en-US" altLang="en-US" sz="1600" b="1" dirty="0" err="1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ocebo</a:t>
            </a:r>
            <a:r>
              <a:rPr lang="en-US" altLang="en-US" sz="1600" b="1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2018</a:t>
            </a:r>
          </a:p>
        </p:txBody>
      </p:sp>
    </p:spTree>
    <p:extLst>
      <p:ext uri="{BB962C8B-B14F-4D97-AF65-F5344CB8AC3E}">
        <p14:creationId xmlns:p14="http://schemas.microsoft.com/office/powerpoint/2010/main" val="102558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206839" y="696421"/>
            <a:ext cx="5448790" cy="715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a-IR" altLang="en-US" sz="4000" dirty="0">
                <a:solidFill>
                  <a:srgbClr val="006666"/>
                </a:solidFill>
                <a:cs typeface="B Titr" panose="00000700000000000000" pitchFamily="2" charset="-78"/>
              </a:rPr>
              <a:t>بازار يادگيري الکترونيکي 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 flipH="1">
            <a:off x="-12879" y="6371786"/>
            <a:ext cx="522649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rtl="1"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en-US" altLang="en-US" sz="1400" b="1" dirty="0" err="1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ocebo</a:t>
            </a:r>
            <a:r>
              <a:rPr lang="en-US" altLang="en-US" sz="1400" b="1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en-US" sz="1400" b="1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8</a:t>
            </a:r>
            <a:endParaRPr lang="fa-IR" altLang="en-US" sz="1400" b="1" dirty="0" smtClean="0">
              <a:solidFill>
                <a:srgbClr val="0033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1"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en-US" altLang="en-US" sz="1400" b="1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obal Market Insight Inc., </a:t>
            </a:r>
            <a:r>
              <a:rPr lang="en-US" altLang="en-US" sz="1400" b="1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endParaRPr lang="en-US" altLang="en-US" sz="1400" b="1" dirty="0">
              <a:solidFill>
                <a:srgbClr val="0033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r="1754" b="1708"/>
          <a:stretch/>
        </p:blipFill>
        <p:spPr>
          <a:xfrm>
            <a:off x="37922" y="1988840"/>
            <a:ext cx="5337997" cy="4248472"/>
          </a:xfrm>
          <a:prstGeom prst="rect">
            <a:avLst/>
          </a:prstGeom>
          <a:ln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4803824" y="1740329"/>
            <a:ext cx="7196832" cy="47119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q"/>
              <a:defRPr/>
            </a:pP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حجم بازار صنعت یادگیری الکترونیکی در سال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2019 </a:t>
            </a: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حدود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190 </a:t>
            </a: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میلیارد دلار </a:t>
            </a:r>
            <a:endParaRPr lang="fa-IR" sz="1800" b="1" dirty="0" smtClean="0">
              <a:solidFill>
                <a:srgbClr val="455F51">
                  <a:lumMod val="75000"/>
                </a:srgbClr>
              </a:solidFill>
              <a:latin typeface="Times New Roman" panose="02020603050405020304" pitchFamily="18" charset="0"/>
              <a:ea typeface="Calibri" panose="020F0502020204030204" pitchFamily="34" charset="0"/>
              <a:cs typeface="B Zar" panose="00000400000000000000" pitchFamily="2" charset="-78"/>
            </a:endParaRPr>
          </a:p>
          <a:p>
            <a:pPr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q"/>
              <a:defRPr/>
            </a:pP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اختصاص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حدود </a:t>
            </a: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۲۵ درصد از این بازار به حوزة آموزش عالی </a:t>
            </a:r>
            <a:endParaRPr lang="fa-IR" sz="1800" b="1" dirty="0" smtClean="0">
              <a:solidFill>
                <a:srgbClr val="455F51">
                  <a:lumMod val="75000"/>
                </a:srgbClr>
              </a:solidFill>
              <a:latin typeface="Times New Roman" panose="02020603050405020304" pitchFamily="18" charset="0"/>
              <a:ea typeface="Calibri" panose="020F0502020204030204" pitchFamily="34" charset="0"/>
              <a:cs typeface="B Zar" panose="00000400000000000000" pitchFamily="2" charset="-78"/>
            </a:endParaRPr>
          </a:p>
          <a:p>
            <a:pPr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q"/>
              <a:defRPr/>
            </a:pP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پیش‌بینی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رشد </a:t>
            </a: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سالیانة حدود پنج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درصد (اندازة </a:t>
            </a: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بازار یادگیری الکترونیکی در سال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2025 به بیش از۲5۰ </a:t>
            </a: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میلیارد دلار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افزایش خواهد یافت)</a:t>
            </a:r>
          </a:p>
          <a:p>
            <a:pPr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q"/>
              <a:defRPr/>
            </a:pP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مهمترین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محرک های </a:t>
            </a: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رشد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صنعت یادگیری الکترونیکی:</a:t>
            </a:r>
            <a:endParaRPr lang="fa-IR" sz="1800" b="1" dirty="0">
              <a:solidFill>
                <a:srgbClr val="455F51">
                  <a:lumMod val="75000"/>
                </a:srgbClr>
              </a:solidFill>
              <a:latin typeface="Times New Roman" panose="02020603050405020304" pitchFamily="18" charset="0"/>
              <a:ea typeface="Calibri" panose="020F0502020204030204" pitchFamily="34" charset="0"/>
              <a:cs typeface="B Zar" panose="00000400000000000000" pitchFamily="2" charset="-78"/>
            </a:endParaRPr>
          </a:p>
          <a:p>
            <a:pPr lvl="1"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§"/>
              <a:defRPr/>
            </a:pPr>
            <a:r>
              <a:rPr lang="fa-IR" sz="16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نیاز به بودجة کمتر در نسبت به آموزش حضوری </a:t>
            </a:r>
          </a:p>
          <a:p>
            <a:pPr lvl="1"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§"/>
              <a:defRPr/>
            </a:pPr>
            <a:r>
              <a:rPr lang="fa-IR" sz="16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انعطاف‌پذیری فراوان در آموزش</a:t>
            </a:r>
          </a:p>
          <a:p>
            <a:pPr algn="just" rtl="1">
              <a:lnSpc>
                <a:spcPct val="150000"/>
              </a:lnSpc>
              <a:buClr>
                <a:srgbClr val="006666"/>
              </a:buClr>
              <a:buFont typeface="Wingdings" panose="05000000000000000000" pitchFamily="2" charset="2"/>
              <a:buChar char="q"/>
              <a:defRPr/>
            </a:pP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ورود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 موفق یادگیری الکترونیکی در دانشگاهها نیازمند </a:t>
            </a: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فراهم آمدن شرايط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 </a:t>
            </a: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پیاده‌سازی آن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تحت </a:t>
            </a:r>
            <a:r>
              <a:rPr lang="fa-IR" sz="1800" b="1" dirty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عنوان </a:t>
            </a:r>
            <a:r>
              <a:rPr lang="fa-IR" sz="1800" b="1" dirty="0" smtClean="0">
                <a:solidFill>
                  <a:srgbClr val="455F5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: </a:t>
            </a:r>
            <a:r>
              <a:rPr lang="fa-IR" sz="24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«</a:t>
            </a:r>
            <a:r>
              <a:rPr lang="fa-IR" sz="2400" b="1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آمادگي یادگیری </a:t>
            </a:r>
            <a:r>
              <a:rPr lang="fa-IR" sz="24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B Zar" panose="00000400000000000000" pitchFamily="2" charset="-78"/>
              </a:rPr>
              <a:t>الكترونيكي»</a:t>
            </a:r>
          </a:p>
        </p:txBody>
      </p:sp>
    </p:spTree>
    <p:extLst>
      <p:ext uri="{BB962C8B-B14F-4D97-AF65-F5344CB8AC3E}">
        <p14:creationId xmlns:p14="http://schemas.microsoft.com/office/powerpoint/2010/main" val="3430336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20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/>
        </p:nvSpPr>
        <p:spPr bwMode="auto">
          <a:xfrm flipH="1">
            <a:off x="0" y="6437564"/>
            <a:ext cx="5226496" cy="417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rtl="1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en-US" altLang="en-US" sz="1600" b="1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rlos Machado, 2007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2796" r="3329" b="7953"/>
          <a:stretch/>
        </p:blipFill>
        <p:spPr>
          <a:xfrm>
            <a:off x="90152" y="154748"/>
            <a:ext cx="9079606" cy="610438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7" name="Title 2"/>
          <p:cNvSpPr txBox="1">
            <a:spLocks/>
          </p:cNvSpPr>
          <p:nvPr/>
        </p:nvSpPr>
        <p:spPr>
          <a:xfrm>
            <a:off x="7237928" y="3432222"/>
            <a:ext cx="4443211" cy="1000189"/>
          </a:xfrm>
          <a:prstGeom prst="rect">
            <a:avLst/>
          </a:prstGeom>
          <a:solidFill>
            <a:schemeClr val="bg1"/>
          </a:solidFill>
          <a:ln w="38100">
            <a:solidFill>
              <a:srgbClr val="006666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a-IR" sz="3200" dirty="0" smtClean="0">
                <a:solidFill>
                  <a:srgbClr val="C00000"/>
                </a:solidFill>
                <a:cs typeface="B Titr" panose="00000700000000000000" pitchFamily="2" charset="-78"/>
              </a:rPr>
              <a:t>آمادگی يادگيري </a:t>
            </a:r>
            <a:r>
              <a:rPr lang="fa-IR" sz="3200" dirty="0">
                <a:solidFill>
                  <a:srgbClr val="C00000"/>
                </a:solidFill>
                <a:cs typeface="B Titr" panose="00000700000000000000" pitchFamily="2" charset="-78"/>
              </a:rPr>
              <a:t>الکترونيکي</a:t>
            </a:r>
            <a:endParaRPr lang="en-US" sz="3200" dirty="0">
              <a:solidFill>
                <a:srgbClr val="C00000"/>
              </a:solidFill>
              <a:cs typeface="B Titr" panose="00000700000000000000" pitchFamily="2" charset="-78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3503054" y="4456091"/>
            <a:ext cx="8487177" cy="1790171"/>
          </a:xfrm>
          <a:prstGeom prst="roundRect">
            <a:avLst/>
          </a:prstGeom>
          <a:solidFill>
            <a:srgbClr val="DCFFB9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defTabSz="457200" rtl="1">
              <a:lnSpc>
                <a:spcPct val="150000"/>
              </a:lnSpc>
              <a:defRPr/>
            </a:pPr>
            <a:r>
              <a:rPr lang="fa-IR" sz="2400" b="1" dirty="0" smtClean="0">
                <a:solidFill>
                  <a:srgbClr val="455F51">
                    <a:lumMod val="50000"/>
                  </a:srgbClr>
                </a:solidFill>
                <a:cs typeface="B Zar" panose="00000400000000000000" pitchFamily="2" charset="-78"/>
              </a:rPr>
              <a:t> توانايي سازمان و ظرفيت ذي</a:t>
            </a:r>
            <a:r>
              <a:rPr lang="en-US" sz="2400" b="1" dirty="0" smtClean="0">
                <a:solidFill>
                  <a:srgbClr val="455F51">
                    <a:lumMod val="50000"/>
                  </a:srgbClr>
                </a:solidFill>
                <a:cs typeface="B Zar" panose="00000400000000000000" pitchFamily="2" charset="-78"/>
              </a:rPr>
              <a:t> </a:t>
            </a:r>
            <a:r>
              <a:rPr lang="fa-IR" sz="2400" b="1" dirty="0" smtClean="0">
                <a:solidFill>
                  <a:srgbClr val="455F51">
                    <a:lumMod val="50000"/>
                  </a:srgbClr>
                </a:solidFill>
                <a:cs typeface="B Zar" panose="00000400000000000000" pitchFamily="2" charset="-78"/>
              </a:rPr>
              <a:t>نفعان آموزشي</a:t>
            </a:r>
            <a:r>
              <a:rPr lang="en-US" sz="2400" b="1" dirty="0" smtClean="0">
                <a:solidFill>
                  <a:srgbClr val="455F51">
                    <a:lumMod val="50000"/>
                  </a:srgbClr>
                </a:solidFill>
                <a:cs typeface="B Zar" panose="00000400000000000000" pitchFamily="2" charset="-78"/>
              </a:rPr>
              <a:t> </a:t>
            </a:r>
            <a:r>
              <a:rPr lang="fa-IR" sz="2400" b="1" dirty="0" smtClean="0">
                <a:solidFill>
                  <a:srgbClr val="455F51">
                    <a:lumMod val="50000"/>
                  </a:srgbClr>
                </a:solidFill>
                <a:cs typeface="B Zar" panose="00000400000000000000" pitchFamily="2" charset="-78"/>
              </a:rPr>
              <a:t>(اعم بر مديران، استادان، دانشجويان وکارکنان) براي حضور موفّق در فضاي آموزشي الكترونيكي و تبديل شدن به </a:t>
            </a:r>
            <a:r>
              <a:rPr lang="fa-IR" sz="2400" b="1" dirty="0">
                <a:solidFill>
                  <a:srgbClr val="455F51">
                    <a:lumMod val="50000"/>
                  </a:srgbClr>
                </a:solidFill>
                <a:cs typeface="B Zar" panose="00000400000000000000" pitchFamily="2" charset="-78"/>
              </a:rPr>
              <a:t>«</a:t>
            </a:r>
            <a:r>
              <a:rPr lang="fa-IR" sz="2400" b="1" dirty="0" smtClean="0">
                <a:solidFill>
                  <a:srgbClr val="0070C0"/>
                </a:solidFill>
                <a:cs typeface="B Zar" panose="00000400000000000000" pitchFamily="2" charset="-78"/>
              </a:rPr>
              <a:t>سازمان مجازی آموزشی</a:t>
            </a:r>
            <a:r>
              <a:rPr lang="fa-IR" sz="2400" b="1" dirty="0" smtClean="0">
                <a:solidFill>
                  <a:srgbClr val="455F51">
                    <a:lumMod val="50000"/>
                  </a:srgbClr>
                </a:solidFill>
                <a:cs typeface="B Zar" panose="00000400000000000000" pitchFamily="2" charset="-78"/>
              </a:rPr>
              <a:t>» </a:t>
            </a:r>
            <a:endParaRPr lang="fa-IR" sz="2400" b="1" dirty="0">
              <a:solidFill>
                <a:srgbClr val="455F51">
                  <a:lumMod val="50000"/>
                </a:srgbClr>
              </a:solidFill>
              <a:cs typeface="B Zar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086843545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38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7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312360" y="279160"/>
            <a:ext cx="11664169" cy="6457595"/>
            <a:chOff x="241659" y="260648"/>
            <a:chExt cx="8578813" cy="3888433"/>
          </a:xfrm>
        </p:grpSpPr>
        <p:sp>
          <p:nvSpPr>
            <p:cNvPr id="97" name="Rectangle 96"/>
            <p:cNvSpPr/>
            <p:nvPr/>
          </p:nvSpPr>
          <p:spPr>
            <a:xfrm>
              <a:off x="251521" y="260649"/>
              <a:ext cx="8568951" cy="38884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t"/>
            <a:lstStyle/>
            <a:p>
              <a:pPr marL="88106" indent="-88106" defTabSz="615554">
                <a:spcBef>
                  <a:spcPts val="225"/>
                </a:spcBef>
                <a:buFont typeface="Arial" pitchFamily="34" charset="0"/>
                <a:buChar char="•"/>
              </a:pPr>
              <a:endParaRPr lang="en-IN" sz="1000" dirty="0">
                <a:solidFill>
                  <a:srgbClr val="000000">
                    <a:lumMod val="85000"/>
                    <a:lumOff val="15000"/>
                  </a:srgbClr>
                </a:solidFill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251518" y="1078106"/>
              <a:ext cx="8560393" cy="2888353"/>
              <a:chOff x="495300" y="2140869"/>
              <a:chExt cx="11239501" cy="3851137"/>
            </a:xfrm>
          </p:grpSpPr>
          <p:sp>
            <p:nvSpPr>
              <p:cNvPr id="96" name="Freeform 95"/>
              <p:cNvSpPr/>
              <p:nvPr/>
            </p:nvSpPr>
            <p:spPr>
              <a:xfrm>
                <a:off x="495300" y="2140869"/>
                <a:ext cx="11239501" cy="3851137"/>
              </a:xfrm>
              <a:custGeom>
                <a:avLst/>
                <a:gdLst>
                  <a:gd name="connsiteX0" fmla="*/ 0 w 11239501"/>
                  <a:gd name="connsiteY0" fmla="*/ 0 h 3851137"/>
                  <a:gd name="connsiteX1" fmla="*/ 584136 w 11239501"/>
                  <a:gd name="connsiteY1" fmla="*/ 0 h 3851137"/>
                  <a:gd name="connsiteX2" fmla="*/ 832739 w 11239501"/>
                  <a:gd name="connsiteY2" fmla="*/ 0 h 3851137"/>
                  <a:gd name="connsiteX3" fmla="*/ 1393826 w 11239501"/>
                  <a:gd name="connsiteY3" fmla="*/ 0 h 3851137"/>
                  <a:gd name="connsiteX4" fmla="*/ 1977962 w 11239501"/>
                  <a:gd name="connsiteY4" fmla="*/ 0 h 3851137"/>
                  <a:gd name="connsiteX5" fmla="*/ 2226565 w 11239501"/>
                  <a:gd name="connsiteY5" fmla="*/ 0 h 3851137"/>
                  <a:gd name="connsiteX6" fmla="*/ 2507876 w 11239501"/>
                  <a:gd name="connsiteY6" fmla="*/ 0 h 3851137"/>
                  <a:gd name="connsiteX7" fmla="*/ 3919919 w 11239501"/>
                  <a:gd name="connsiteY7" fmla="*/ 0 h 3851137"/>
                  <a:gd name="connsiteX8" fmla="*/ 4468560 w 11239501"/>
                  <a:gd name="connsiteY8" fmla="*/ 548640 h 3851137"/>
                  <a:gd name="connsiteX9" fmla="*/ 4030490 w 11239501"/>
                  <a:gd name="connsiteY9" fmla="*/ 1086134 h 3851137"/>
                  <a:gd name="connsiteX10" fmla="*/ 3960748 w 11239501"/>
                  <a:gd name="connsiteY10" fmla="*/ 1093164 h 3851137"/>
                  <a:gd name="connsiteX11" fmla="*/ 3960748 w 11239501"/>
                  <a:gd name="connsiteY11" fmla="*/ 1098716 h 3851137"/>
                  <a:gd name="connsiteX12" fmla="*/ 2064511 w 11239501"/>
                  <a:gd name="connsiteY12" fmla="*/ 1098716 h 3851137"/>
                  <a:gd name="connsiteX13" fmla="*/ 1698751 w 11239501"/>
                  <a:gd name="connsiteY13" fmla="*/ 1464476 h 3851137"/>
                  <a:gd name="connsiteX14" fmla="*/ 2064511 w 11239501"/>
                  <a:gd name="connsiteY14" fmla="*/ 1830236 h 3851137"/>
                  <a:gd name="connsiteX15" fmla="*/ 8813546 w 11239501"/>
                  <a:gd name="connsiteY15" fmla="*/ 1838020 h 3851137"/>
                  <a:gd name="connsiteX16" fmla="*/ 9362187 w 11239501"/>
                  <a:gd name="connsiteY16" fmla="*/ 2386660 h 3851137"/>
                  <a:gd name="connsiteX17" fmla="*/ 8924117 w 11239501"/>
                  <a:gd name="connsiteY17" fmla="*/ 2924154 h 3851137"/>
                  <a:gd name="connsiteX18" fmla="*/ 8854375 w 11239501"/>
                  <a:gd name="connsiteY18" fmla="*/ 2931184 h 3851137"/>
                  <a:gd name="connsiteX19" fmla="*/ 8854375 w 11239501"/>
                  <a:gd name="connsiteY19" fmla="*/ 2936736 h 3851137"/>
                  <a:gd name="connsiteX20" fmla="*/ 6958138 w 11239501"/>
                  <a:gd name="connsiteY20" fmla="*/ 2936736 h 3851137"/>
                  <a:gd name="connsiteX21" fmla="*/ 6592378 w 11239501"/>
                  <a:gd name="connsiteY21" fmla="*/ 3302496 h 3851137"/>
                  <a:gd name="connsiteX22" fmla="*/ 6958138 w 11239501"/>
                  <a:gd name="connsiteY22" fmla="*/ 3668256 h 3851137"/>
                  <a:gd name="connsiteX23" fmla="*/ 9829801 w 11239501"/>
                  <a:gd name="connsiteY23" fmla="*/ 3656427 h 3851137"/>
                  <a:gd name="connsiteX24" fmla="*/ 11239501 w 11239501"/>
                  <a:gd name="connsiteY24" fmla="*/ 3650078 h 3851137"/>
                  <a:gd name="connsiteX25" fmla="*/ 11239501 w 11239501"/>
                  <a:gd name="connsiteY25" fmla="*/ 3851137 h 3851137"/>
                  <a:gd name="connsiteX26" fmla="*/ 8448782 w 11239501"/>
                  <a:gd name="connsiteY26" fmla="*/ 3851137 h 3851137"/>
                  <a:gd name="connsiteX27" fmla="*/ 8448782 w 11239501"/>
                  <a:gd name="connsiteY27" fmla="*/ 3851136 h 3851137"/>
                  <a:gd name="connsiteX28" fmla="*/ 6912418 w 11239501"/>
                  <a:gd name="connsiteY28" fmla="*/ 3851136 h 3851137"/>
                  <a:gd name="connsiteX29" fmla="*/ 6363778 w 11239501"/>
                  <a:gd name="connsiteY29" fmla="*/ 3302496 h 3851137"/>
                  <a:gd name="connsiteX30" fmla="*/ 6801848 w 11239501"/>
                  <a:gd name="connsiteY30" fmla="*/ 2765002 h 3851137"/>
                  <a:gd name="connsiteX31" fmla="*/ 6871589 w 11239501"/>
                  <a:gd name="connsiteY31" fmla="*/ 2757972 h 3851137"/>
                  <a:gd name="connsiteX32" fmla="*/ 6871589 w 11239501"/>
                  <a:gd name="connsiteY32" fmla="*/ 2752420 h 3851137"/>
                  <a:gd name="connsiteX33" fmla="*/ 8767827 w 11239501"/>
                  <a:gd name="connsiteY33" fmla="*/ 2752420 h 3851137"/>
                  <a:gd name="connsiteX34" fmla="*/ 9133586 w 11239501"/>
                  <a:gd name="connsiteY34" fmla="*/ 2386660 h 3851137"/>
                  <a:gd name="connsiteX35" fmla="*/ 8767827 w 11239501"/>
                  <a:gd name="connsiteY35" fmla="*/ 2020900 h 3851137"/>
                  <a:gd name="connsiteX36" fmla="*/ 2216151 w 11239501"/>
                  <a:gd name="connsiteY36" fmla="*/ 2027271 h 3851137"/>
                  <a:gd name="connsiteX37" fmla="*/ 2018791 w 11239501"/>
                  <a:gd name="connsiteY37" fmla="*/ 2013116 h 3851137"/>
                  <a:gd name="connsiteX38" fmla="*/ 1470151 w 11239501"/>
                  <a:gd name="connsiteY38" fmla="*/ 1464476 h 3851137"/>
                  <a:gd name="connsiteX39" fmla="*/ 1908221 w 11239501"/>
                  <a:gd name="connsiteY39" fmla="*/ 926982 h 3851137"/>
                  <a:gd name="connsiteX40" fmla="*/ 1977962 w 11239501"/>
                  <a:gd name="connsiteY40" fmla="*/ 919952 h 3851137"/>
                  <a:gd name="connsiteX41" fmla="*/ 3874200 w 11239501"/>
                  <a:gd name="connsiteY41" fmla="*/ 914400 h 3851137"/>
                  <a:gd name="connsiteX42" fmla="*/ 4239959 w 11239501"/>
                  <a:gd name="connsiteY42" fmla="*/ 548640 h 3851137"/>
                  <a:gd name="connsiteX43" fmla="*/ 3874200 w 11239501"/>
                  <a:gd name="connsiteY43" fmla="*/ 182880 h 3851137"/>
                  <a:gd name="connsiteX44" fmla="*/ 2507876 w 11239501"/>
                  <a:gd name="connsiteY44" fmla="*/ 182880 h 3851137"/>
                  <a:gd name="connsiteX45" fmla="*/ 2507876 w 11239501"/>
                  <a:gd name="connsiteY45" fmla="*/ 186345 h 3851137"/>
                  <a:gd name="connsiteX46" fmla="*/ 2480374 w 11239501"/>
                  <a:gd name="connsiteY46" fmla="*/ 182880 h 3851137"/>
                  <a:gd name="connsiteX47" fmla="*/ 1977962 w 11239501"/>
                  <a:gd name="connsiteY47" fmla="*/ 182880 h 3851137"/>
                  <a:gd name="connsiteX48" fmla="*/ 584136 w 11239501"/>
                  <a:gd name="connsiteY48" fmla="*/ 182880 h 3851137"/>
                  <a:gd name="connsiteX49" fmla="*/ 584136 w 11239501"/>
                  <a:gd name="connsiteY49" fmla="*/ 180977 h 3851137"/>
                  <a:gd name="connsiteX50" fmla="*/ 0 w 11239501"/>
                  <a:gd name="connsiteY50" fmla="*/ 180977 h 3851137"/>
                  <a:gd name="connsiteX0" fmla="*/ 0 w 11239501"/>
                  <a:gd name="connsiteY0" fmla="*/ 0 h 3851137"/>
                  <a:gd name="connsiteX1" fmla="*/ 584136 w 11239501"/>
                  <a:gd name="connsiteY1" fmla="*/ 0 h 3851137"/>
                  <a:gd name="connsiteX2" fmla="*/ 832739 w 11239501"/>
                  <a:gd name="connsiteY2" fmla="*/ 0 h 3851137"/>
                  <a:gd name="connsiteX3" fmla="*/ 1393826 w 11239501"/>
                  <a:gd name="connsiteY3" fmla="*/ 0 h 3851137"/>
                  <a:gd name="connsiteX4" fmla="*/ 1977962 w 11239501"/>
                  <a:gd name="connsiteY4" fmla="*/ 0 h 3851137"/>
                  <a:gd name="connsiteX5" fmla="*/ 2226565 w 11239501"/>
                  <a:gd name="connsiteY5" fmla="*/ 0 h 3851137"/>
                  <a:gd name="connsiteX6" fmla="*/ 2507876 w 11239501"/>
                  <a:gd name="connsiteY6" fmla="*/ 0 h 3851137"/>
                  <a:gd name="connsiteX7" fmla="*/ 3919919 w 11239501"/>
                  <a:gd name="connsiteY7" fmla="*/ 0 h 3851137"/>
                  <a:gd name="connsiteX8" fmla="*/ 4468560 w 11239501"/>
                  <a:gd name="connsiteY8" fmla="*/ 548640 h 3851137"/>
                  <a:gd name="connsiteX9" fmla="*/ 4030490 w 11239501"/>
                  <a:gd name="connsiteY9" fmla="*/ 1086134 h 3851137"/>
                  <a:gd name="connsiteX10" fmla="*/ 3960748 w 11239501"/>
                  <a:gd name="connsiteY10" fmla="*/ 1093164 h 3851137"/>
                  <a:gd name="connsiteX11" fmla="*/ 3960748 w 11239501"/>
                  <a:gd name="connsiteY11" fmla="*/ 1098716 h 3851137"/>
                  <a:gd name="connsiteX12" fmla="*/ 2064511 w 11239501"/>
                  <a:gd name="connsiteY12" fmla="*/ 1098716 h 3851137"/>
                  <a:gd name="connsiteX13" fmla="*/ 1698751 w 11239501"/>
                  <a:gd name="connsiteY13" fmla="*/ 1464476 h 3851137"/>
                  <a:gd name="connsiteX14" fmla="*/ 2064511 w 11239501"/>
                  <a:gd name="connsiteY14" fmla="*/ 1830236 h 3851137"/>
                  <a:gd name="connsiteX15" fmla="*/ 8813546 w 11239501"/>
                  <a:gd name="connsiteY15" fmla="*/ 1838020 h 3851137"/>
                  <a:gd name="connsiteX16" fmla="*/ 9362187 w 11239501"/>
                  <a:gd name="connsiteY16" fmla="*/ 2386660 h 3851137"/>
                  <a:gd name="connsiteX17" fmla="*/ 8924117 w 11239501"/>
                  <a:gd name="connsiteY17" fmla="*/ 2924154 h 3851137"/>
                  <a:gd name="connsiteX18" fmla="*/ 8854375 w 11239501"/>
                  <a:gd name="connsiteY18" fmla="*/ 2931184 h 3851137"/>
                  <a:gd name="connsiteX19" fmla="*/ 8854375 w 11239501"/>
                  <a:gd name="connsiteY19" fmla="*/ 2936736 h 3851137"/>
                  <a:gd name="connsiteX20" fmla="*/ 6958138 w 11239501"/>
                  <a:gd name="connsiteY20" fmla="*/ 2936736 h 3851137"/>
                  <a:gd name="connsiteX21" fmla="*/ 6592378 w 11239501"/>
                  <a:gd name="connsiteY21" fmla="*/ 3302496 h 3851137"/>
                  <a:gd name="connsiteX22" fmla="*/ 6958138 w 11239501"/>
                  <a:gd name="connsiteY22" fmla="*/ 3668256 h 3851137"/>
                  <a:gd name="connsiteX23" fmla="*/ 9829801 w 11239501"/>
                  <a:gd name="connsiteY23" fmla="*/ 3656427 h 3851137"/>
                  <a:gd name="connsiteX24" fmla="*/ 11239501 w 11239501"/>
                  <a:gd name="connsiteY24" fmla="*/ 3650078 h 3851137"/>
                  <a:gd name="connsiteX25" fmla="*/ 11239501 w 11239501"/>
                  <a:gd name="connsiteY25" fmla="*/ 3851137 h 3851137"/>
                  <a:gd name="connsiteX26" fmla="*/ 8448782 w 11239501"/>
                  <a:gd name="connsiteY26" fmla="*/ 3851137 h 3851137"/>
                  <a:gd name="connsiteX27" fmla="*/ 8448782 w 11239501"/>
                  <a:gd name="connsiteY27" fmla="*/ 3851136 h 3851137"/>
                  <a:gd name="connsiteX28" fmla="*/ 6912418 w 11239501"/>
                  <a:gd name="connsiteY28" fmla="*/ 3851136 h 3851137"/>
                  <a:gd name="connsiteX29" fmla="*/ 6363778 w 11239501"/>
                  <a:gd name="connsiteY29" fmla="*/ 3302496 h 3851137"/>
                  <a:gd name="connsiteX30" fmla="*/ 6801848 w 11239501"/>
                  <a:gd name="connsiteY30" fmla="*/ 2765002 h 3851137"/>
                  <a:gd name="connsiteX31" fmla="*/ 6871589 w 11239501"/>
                  <a:gd name="connsiteY31" fmla="*/ 2757972 h 3851137"/>
                  <a:gd name="connsiteX32" fmla="*/ 6871589 w 11239501"/>
                  <a:gd name="connsiteY32" fmla="*/ 2752420 h 3851137"/>
                  <a:gd name="connsiteX33" fmla="*/ 8767827 w 11239501"/>
                  <a:gd name="connsiteY33" fmla="*/ 2752420 h 3851137"/>
                  <a:gd name="connsiteX34" fmla="*/ 9133586 w 11239501"/>
                  <a:gd name="connsiteY34" fmla="*/ 2386660 h 3851137"/>
                  <a:gd name="connsiteX35" fmla="*/ 8767827 w 11239501"/>
                  <a:gd name="connsiteY35" fmla="*/ 2020900 h 3851137"/>
                  <a:gd name="connsiteX36" fmla="*/ 2216151 w 11239501"/>
                  <a:gd name="connsiteY36" fmla="*/ 2027271 h 3851137"/>
                  <a:gd name="connsiteX37" fmla="*/ 2018791 w 11239501"/>
                  <a:gd name="connsiteY37" fmla="*/ 2013116 h 3851137"/>
                  <a:gd name="connsiteX38" fmla="*/ 1470151 w 11239501"/>
                  <a:gd name="connsiteY38" fmla="*/ 1464476 h 3851137"/>
                  <a:gd name="connsiteX39" fmla="*/ 1908221 w 11239501"/>
                  <a:gd name="connsiteY39" fmla="*/ 926982 h 3851137"/>
                  <a:gd name="connsiteX40" fmla="*/ 1977962 w 11239501"/>
                  <a:gd name="connsiteY40" fmla="*/ 919952 h 3851137"/>
                  <a:gd name="connsiteX41" fmla="*/ 3874200 w 11239501"/>
                  <a:gd name="connsiteY41" fmla="*/ 914400 h 3851137"/>
                  <a:gd name="connsiteX42" fmla="*/ 4239959 w 11239501"/>
                  <a:gd name="connsiteY42" fmla="*/ 548640 h 3851137"/>
                  <a:gd name="connsiteX43" fmla="*/ 3874200 w 11239501"/>
                  <a:gd name="connsiteY43" fmla="*/ 182880 h 3851137"/>
                  <a:gd name="connsiteX44" fmla="*/ 2507876 w 11239501"/>
                  <a:gd name="connsiteY44" fmla="*/ 182880 h 3851137"/>
                  <a:gd name="connsiteX45" fmla="*/ 2507876 w 11239501"/>
                  <a:gd name="connsiteY45" fmla="*/ 186345 h 3851137"/>
                  <a:gd name="connsiteX46" fmla="*/ 1977962 w 11239501"/>
                  <a:gd name="connsiteY46" fmla="*/ 182880 h 3851137"/>
                  <a:gd name="connsiteX47" fmla="*/ 584136 w 11239501"/>
                  <a:gd name="connsiteY47" fmla="*/ 182880 h 3851137"/>
                  <a:gd name="connsiteX48" fmla="*/ 584136 w 11239501"/>
                  <a:gd name="connsiteY48" fmla="*/ 180977 h 3851137"/>
                  <a:gd name="connsiteX49" fmla="*/ 0 w 11239501"/>
                  <a:gd name="connsiteY49" fmla="*/ 180977 h 3851137"/>
                  <a:gd name="connsiteX50" fmla="*/ 0 w 11239501"/>
                  <a:gd name="connsiteY50" fmla="*/ 0 h 3851137"/>
                  <a:gd name="connsiteX0" fmla="*/ 0 w 11239501"/>
                  <a:gd name="connsiteY0" fmla="*/ 0 h 3851137"/>
                  <a:gd name="connsiteX1" fmla="*/ 584136 w 11239501"/>
                  <a:gd name="connsiteY1" fmla="*/ 0 h 3851137"/>
                  <a:gd name="connsiteX2" fmla="*/ 832739 w 11239501"/>
                  <a:gd name="connsiteY2" fmla="*/ 0 h 3851137"/>
                  <a:gd name="connsiteX3" fmla="*/ 1393826 w 11239501"/>
                  <a:gd name="connsiteY3" fmla="*/ 0 h 3851137"/>
                  <a:gd name="connsiteX4" fmla="*/ 1977962 w 11239501"/>
                  <a:gd name="connsiteY4" fmla="*/ 0 h 3851137"/>
                  <a:gd name="connsiteX5" fmla="*/ 2226565 w 11239501"/>
                  <a:gd name="connsiteY5" fmla="*/ 0 h 3851137"/>
                  <a:gd name="connsiteX6" fmla="*/ 2507876 w 11239501"/>
                  <a:gd name="connsiteY6" fmla="*/ 0 h 3851137"/>
                  <a:gd name="connsiteX7" fmla="*/ 3919919 w 11239501"/>
                  <a:gd name="connsiteY7" fmla="*/ 0 h 3851137"/>
                  <a:gd name="connsiteX8" fmla="*/ 4468560 w 11239501"/>
                  <a:gd name="connsiteY8" fmla="*/ 548640 h 3851137"/>
                  <a:gd name="connsiteX9" fmla="*/ 4030490 w 11239501"/>
                  <a:gd name="connsiteY9" fmla="*/ 1086134 h 3851137"/>
                  <a:gd name="connsiteX10" fmla="*/ 3960748 w 11239501"/>
                  <a:gd name="connsiteY10" fmla="*/ 1093164 h 3851137"/>
                  <a:gd name="connsiteX11" fmla="*/ 3960748 w 11239501"/>
                  <a:gd name="connsiteY11" fmla="*/ 1098716 h 3851137"/>
                  <a:gd name="connsiteX12" fmla="*/ 2064511 w 11239501"/>
                  <a:gd name="connsiteY12" fmla="*/ 1098716 h 3851137"/>
                  <a:gd name="connsiteX13" fmla="*/ 1698751 w 11239501"/>
                  <a:gd name="connsiteY13" fmla="*/ 1464476 h 3851137"/>
                  <a:gd name="connsiteX14" fmla="*/ 2064511 w 11239501"/>
                  <a:gd name="connsiteY14" fmla="*/ 1830236 h 3851137"/>
                  <a:gd name="connsiteX15" fmla="*/ 8813546 w 11239501"/>
                  <a:gd name="connsiteY15" fmla="*/ 1838020 h 3851137"/>
                  <a:gd name="connsiteX16" fmla="*/ 9362187 w 11239501"/>
                  <a:gd name="connsiteY16" fmla="*/ 2386660 h 3851137"/>
                  <a:gd name="connsiteX17" fmla="*/ 8924117 w 11239501"/>
                  <a:gd name="connsiteY17" fmla="*/ 2924154 h 3851137"/>
                  <a:gd name="connsiteX18" fmla="*/ 8854375 w 11239501"/>
                  <a:gd name="connsiteY18" fmla="*/ 2931184 h 3851137"/>
                  <a:gd name="connsiteX19" fmla="*/ 8854375 w 11239501"/>
                  <a:gd name="connsiteY19" fmla="*/ 2936736 h 3851137"/>
                  <a:gd name="connsiteX20" fmla="*/ 6958138 w 11239501"/>
                  <a:gd name="connsiteY20" fmla="*/ 2936736 h 3851137"/>
                  <a:gd name="connsiteX21" fmla="*/ 6592378 w 11239501"/>
                  <a:gd name="connsiteY21" fmla="*/ 3302496 h 3851137"/>
                  <a:gd name="connsiteX22" fmla="*/ 6958138 w 11239501"/>
                  <a:gd name="connsiteY22" fmla="*/ 3668256 h 3851137"/>
                  <a:gd name="connsiteX23" fmla="*/ 9829801 w 11239501"/>
                  <a:gd name="connsiteY23" fmla="*/ 3656427 h 3851137"/>
                  <a:gd name="connsiteX24" fmla="*/ 11239501 w 11239501"/>
                  <a:gd name="connsiteY24" fmla="*/ 3650078 h 3851137"/>
                  <a:gd name="connsiteX25" fmla="*/ 11239501 w 11239501"/>
                  <a:gd name="connsiteY25" fmla="*/ 3851137 h 3851137"/>
                  <a:gd name="connsiteX26" fmla="*/ 8448782 w 11239501"/>
                  <a:gd name="connsiteY26" fmla="*/ 3851137 h 3851137"/>
                  <a:gd name="connsiteX27" fmla="*/ 8448782 w 11239501"/>
                  <a:gd name="connsiteY27" fmla="*/ 3851136 h 3851137"/>
                  <a:gd name="connsiteX28" fmla="*/ 6912418 w 11239501"/>
                  <a:gd name="connsiteY28" fmla="*/ 3851136 h 3851137"/>
                  <a:gd name="connsiteX29" fmla="*/ 6363778 w 11239501"/>
                  <a:gd name="connsiteY29" fmla="*/ 3302496 h 3851137"/>
                  <a:gd name="connsiteX30" fmla="*/ 6801848 w 11239501"/>
                  <a:gd name="connsiteY30" fmla="*/ 2765002 h 3851137"/>
                  <a:gd name="connsiteX31" fmla="*/ 6871589 w 11239501"/>
                  <a:gd name="connsiteY31" fmla="*/ 2757972 h 3851137"/>
                  <a:gd name="connsiteX32" fmla="*/ 6871589 w 11239501"/>
                  <a:gd name="connsiteY32" fmla="*/ 2752420 h 3851137"/>
                  <a:gd name="connsiteX33" fmla="*/ 8767827 w 11239501"/>
                  <a:gd name="connsiteY33" fmla="*/ 2752420 h 3851137"/>
                  <a:gd name="connsiteX34" fmla="*/ 9133586 w 11239501"/>
                  <a:gd name="connsiteY34" fmla="*/ 2386660 h 3851137"/>
                  <a:gd name="connsiteX35" fmla="*/ 8767827 w 11239501"/>
                  <a:gd name="connsiteY35" fmla="*/ 2020900 h 3851137"/>
                  <a:gd name="connsiteX36" fmla="*/ 2216151 w 11239501"/>
                  <a:gd name="connsiteY36" fmla="*/ 2027271 h 3851137"/>
                  <a:gd name="connsiteX37" fmla="*/ 2018791 w 11239501"/>
                  <a:gd name="connsiteY37" fmla="*/ 2013116 h 3851137"/>
                  <a:gd name="connsiteX38" fmla="*/ 1470151 w 11239501"/>
                  <a:gd name="connsiteY38" fmla="*/ 1464476 h 3851137"/>
                  <a:gd name="connsiteX39" fmla="*/ 1908221 w 11239501"/>
                  <a:gd name="connsiteY39" fmla="*/ 926982 h 3851137"/>
                  <a:gd name="connsiteX40" fmla="*/ 1977962 w 11239501"/>
                  <a:gd name="connsiteY40" fmla="*/ 919952 h 3851137"/>
                  <a:gd name="connsiteX41" fmla="*/ 3874200 w 11239501"/>
                  <a:gd name="connsiteY41" fmla="*/ 914400 h 3851137"/>
                  <a:gd name="connsiteX42" fmla="*/ 4239959 w 11239501"/>
                  <a:gd name="connsiteY42" fmla="*/ 548640 h 3851137"/>
                  <a:gd name="connsiteX43" fmla="*/ 3874200 w 11239501"/>
                  <a:gd name="connsiteY43" fmla="*/ 182880 h 3851137"/>
                  <a:gd name="connsiteX44" fmla="*/ 2507876 w 11239501"/>
                  <a:gd name="connsiteY44" fmla="*/ 182880 h 3851137"/>
                  <a:gd name="connsiteX45" fmla="*/ 1977962 w 11239501"/>
                  <a:gd name="connsiteY45" fmla="*/ 182880 h 3851137"/>
                  <a:gd name="connsiteX46" fmla="*/ 584136 w 11239501"/>
                  <a:gd name="connsiteY46" fmla="*/ 182880 h 3851137"/>
                  <a:gd name="connsiteX47" fmla="*/ 584136 w 11239501"/>
                  <a:gd name="connsiteY47" fmla="*/ 180977 h 3851137"/>
                  <a:gd name="connsiteX48" fmla="*/ 0 w 11239501"/>
                  <a:gd name="connsiteY48" fmla="*/ 180977 h 3851137"/>
                  <a:gd name="connsiteX49" fmla="*/ 0 w 11239501"/>
                  <a:gd name="connsiteY49" fmla="*/ 0 h 3851137"/>
                  <a:gd name="connsiteX0" fmla="*/ 0 w 11239501"/>
                  <a:gd name="connsiteY0" fmla="*/ 0 h 3851137"/>
                  <a:gd name="connsiteX1" fmla="*/ 584136 w 11239501"/>
                  <a:gd name="connsiteY1" fmla="*/ 0 h 3851137"/>
                  <a:gd name="connsiteX2" fmla="*/ 832739 w 11239501"/>
                  <a:gd name="connsiteY2" fmla="*/ 0 h 3851137"/>
                  <a:gd name="connsiteX3" fmla="*/ 1393826 w 11239501"/>
                  <a:gd name="connsiteY3" fmla="*/ 0 h 3851137"/>
                  <a:gd name="connsiteX4" fmla="*/ 1977962 w 11239501"/>
                  <a:gd name="connsiteY4" fmla="*/ 0 h 3851137"/>
                  <a:gd name="connsiteX5" fmla="*/ 2226565 w 11239501"/>
                  <a:gd name="connsiteY5" fmla="*/ 0 h 3851137"/>
                  <a:gd name="connsiteX6" fmla="*/ 2507876 w 11239501"/>
                  <a:gd name="connsiteY6" fmla="*/ 0 h 3851137"/>
                  <a:gd name="connsiteX7" fmla="*/ 3919919 w 11239501"/>
                  <a:gd name="connsiteY7" fmla="*/ 0 h 3851137"/>
                  <a:gd name="connsiteX8" fmla="*/ 4468560 w 11239501"/>
                  <a:gd name="connsiteY8" fmla="*/ 548640 h 3851137"/>
                  <a:gd name="connsiteX9" fmla="*/ 4030490 w 11239501"/>
                  <a:gd name="connsiteY9" fmla="*/ 1086134 h 3851137"/>
                  <a:gd name="connsiteX10" fmla="*/ 3960748 w 11239501"/>
                  <a:gd name="connsiteY10" fmla="*/ 1093164 h 3851137"/>
                  <a:gd name="connsiteX11" fmla="*/ 3960748 w 11239501"/>
                  <a:gd name="connsiteY11" fmla="*/ 1098716 h 3851137"/>
                  <a:gd name="connsiteX12" fmla="*/ 2064511 w 11239501"/>
                  <a:gd name="connsiteY12" fmla="*/ 1098716 h 3851137"/>
                  <a:gd name="connsiteX13" fmla="*/ 1698751 w 11239501"/>
                  <a:gd name="connsiteY13" fmla="*/ 1464476 h 3851137"/>
                  <a:gd name="connsiteX14" fmla="*/ 2064511 w 11239501"/>
                  <a:gd name="connsiteY14" fmla="*/ 1830236 h 3851137"/>
                  <a:gd name="connsiteX15" fmla="*/ 8813546 w 11239501"/>
                  <a:gd name="connsiteY15" fmla="*/ 1838020 h 3851137"/>
                  <a:gd name="connsiteX16" fmla="*/ 9362187 w 11239501"/>
                  <a:gd name="connsiteY16" fmla="*/ 2386660 h 3851137"/>
                  <a:gd name="connsiteX17" fmla="*/ 8924117 w 11239501"/>
                  <a:gd name="connsiteY17" fmla="*/ 2924154 h 3851137"/>
                  <a:gd name="connsiteX18" fmla="*/ 8854375 w 11239501"/>
                  <a:gd name="connsiteY18" fmla="*/ 2931184 h 3851137"/>
                  <a:gd name="connsiteX19" fmla="*/ 8854375 w 11239501"/>
                  <a:gd name="connsiteY19" fmla="*/ 2936736 h 3851137"/>
                  <a:gd name="connsiteX20" fmla="*/ 6958138 w 11239501"/>
                  <a:gd name="connsiteY20" fmla="*/ 2936736 h 3851137"/>
                  <a:gd name="connsiteX21" fmla="*/ 6592378 w 11239501"/>
                  <a:gd name="connsiteY21" fmla="*/ 3302496 h 3851137"/>
                  <a:gd name="connsiteX22" fmla="*/ 6958138 w 11239501"/>
                  <a:gd name="connsiteY22" fmla="*/ 3668256 h 3851137"/>
                  <a:gd name="connsiteX23" fmla="*/ 9829801 w 11239501"/>
                  <a:gd name="connsiteY23" fmla="*/ 3656427 h 3851137"/>
                  <a:gd name="connsiteX24" fmla="*/ 11239501 w 11239501"/>
                  <a:gd name="connsiteY24" fmla="*/ 3650078 h 3851137"/>
                  <a:gd name="connsiteX25" fmla="*/ 11239501 w 11239501"/>
                  <a:gd name="connsiteY25" fmla="*/ 3851137 h 3851137"/>
                  <a:gd name="connsiteX26" fmla="*/ 8448782 w 11239501"/>
                  <a:gd name="connsiteY26" fmla="*/ 3851137 h 3851137"/>
                  <a:gd name="connsiteX27" fmla="*/ 8448782 w 11239501"/>
                  <a:gd name="connsiteY27" fmla="*/ 3851136 h 3851137"/>
                  <a:gd name="connsiteX28" fmla="*/ 6912418 w 11239501"/>
                  <a:gd name="connsiteY28" fmla="*/ 3851136 h 3851137"/>
                  <a:gd name="connsiteX29" fmla="*/ 6363778 w 11239501"/>
                  <a:gd name="connsiteY29" fmla="*/ 3302496 h 3851137"/>
                  <a:gd name="connsiteX30" fmla="*/ 6801848 w 11239501"/>
                  <a:gd name="connsiteY30" fmla="*/ 2765002 h 3851137"/>
                  <a:gd name="connsiteX31" fmla="*/ 6871589 w 11239501"/>
                  <a:gd name="connsiteY31" fmla="*/ 2757972 h 3851137"/>
                  <a:gd name="connsiteX32" fmla="*/ 6871589 w 11239501"/>
                  <a:gd name="connsiteY32" fmla="*/ 2752420 h 3851137"/>
                  <a:gd name="connsiteX33" fmla="*/ 8767827 w 11239501"/>
                  <a:gd name="connsiteY33" fmla="*/ 2752420 h 3851137"/>
                  <a:gd name="connsiteX34" fmla="*/ 9133586 w 11239501"/>
                  <a:gd name="connsiteY34" fmla="*/ 2386660 h 3851137"/>
                  <a:gd name="connsiteX35" fmla="*/ 8767827 w 11239501"/>
                  <a:gd name="connsiteY35" fmla="*/ 2020900 h 3851137"/>
                  <a:gd name="connsiteX36" fmla="*/ 2216151 w 11239501"/>
                  <a:gd name="connsiteY36" fmla="*/ 2027271 h 3851137"/>
                  <a:gd name="connsiteX37" fmla="*/ 2018791 w 11239501"/>
                  <a:gd name="connsiteY37" fmla="*/ 2013116 h 3851137"/>
                  <a:gd name="connsiteX38" fmla="*/ 1470151 w 11239501"/>
                  <a:gd name="connsiteY38" fmla="*/ 1464476 h 3851137"/>
                  <a:gd name="connsiteX39" fmla="*/ 1908221 w 11239501"/>
                  <a:gd name="connsiteY39" fmla="*/ 926982 h 3851137"/>
                  <a:gd name="connsiteX40" fmla="*/ 1977962 w 11239501"/>
                  <a:gd name="connsiteY40" fmla="*/ 919952 h 3851137"/>
                  <a:gd name="connsiteX41" fmla="*/ 3874200 w 11239501"/>
                  <a:gd name="connsiteY41" fmla="*/ 914400 h 3851137"/>
                  <a:gd name="connsiteX42" fmla="*/ 4239959 w 11239501"/>
                  <a:gd name="connsiteY42" fmla="*/ 548640 h 3851137"/>
                  <a:gd name="connsiteX43" fmla="*/ 3874200 w 11239501"/>
                  <a:gd name="connsiteY43" fmla="*/ 182880 h 3851137"/>
                  <a:gd name="connsiteX44" fmla="*/ 1977962 w 11239501"/>
                  <a:gd name="connsiteY44" fmla="*/ 182880 h 3851137"/>
                  <a:gd name="connsiteX45" fmla="*/ 584136 w 11239501"/>
                  <a:gd name="connsiteY45" fmla="*/ 182880 h 3851137"/>
                  <a:gd name="connsiteX46" fmla="*/ 584136 w 11239501"/>
                  <a:gd name="connsiteY46" fmla="*/ 180977 h 3851137"/>
                  <a:gd name="connsiteX47" fmla="*/ 0 w 11239501"/>
                  <a:gd name="connsiteY47" fmla="*/ 180977 h 3851137"/>
                  <a:gd name="connsiteX48" fmla="*/ 0 w 11239501"/>
                  <a:gd name="connsiteY48" fmla="*/ 0 h 3851137"/>
                  <a:gd name="connsiteX0" fmla="*/ 0 w 11239501"/>
                  <a:gd name="connsiteY0" fmla="*/ 0 h 3851137"/>
                  <a:gd name="connsiteX1" fmla="*/ 584136 w 11239501"/>
                  <a:gd name="connsiteY1" fmla="*/ 0 h 3851137"/>
                  <a:gd name="connsiteX2" fmla="*/ 832739 w 11239501"/>
                  <a:gd name="connsiteY2" fmla="*/ 0 h 3851137"/>
                  <a:gd name="connsiteX3" fmla="*/ 1393826 w 11239501"/>
                  <a:gd name="connsiteY3" fmla="*/ 0 h 3851137"/>
                  <a:gd name="connsiteX4" fmla="*/ 1977962 w 11239501"/>
                  <a:gd name="connsiteY4" fmla="*/ 0 h 3851137"/>
                  <a:gd name="connsiteX5" fmla="*/ 2226565 w 11239501"/>
                  <a:gd name="connsiteY5" fmla="*/ 0 h 3851137"/>
                  <a:gd name="connsiteX6" fmla="*/ 2507876 w 11239501"/>
                  <a:gd name="connsiteY6" fmla="*/ 0 h 3851137"/>
                  <a:gd name="connsiteX7" fmla="*/ 3919919 w 11239501"/>
                  <a:gd name="connsiteY7" fmla="*/ 0 h 3851137"/>
                  <a:gd name="connsiteX8" fmla="*/ 4468560 w 11239501"/>
                  <a:gd name="connsiteY8" fmla="*/ 548640 h 3851137"/>
                  <a:gd name="connsiteX9" fmla="*/ 4030490 w 11239501"/>
                  <a:gd name="connsiteY9" fmla="*/ 1086134 h 3851137"/>
                  <a:gd name="connsiteX10" fmla="*/ 3960748 w 11239501"/>
                  <a:gd name="connsiteY10" fmla="*/ 1093164 h 3851137"/>
                  <a:gd name="connsiteX11" fmla="*/ 3960748 w 11239501"/>
                  <a:gd name="connsiteY11" fmla="*/ 1098716 h 3851137"/>
                  <a:gd name="connsiteX12" fmla="*/ 2064511 w 11239501"/>
                  <a:gd name="connsiteY12" fmla="*/ 1098716 h 3851137"/>
                  <a:gd name="connsiteX13" fmla="*/ 1698751 w 11239501"/>
                  <a:gd name="connsiteY13" fmla="*/ 1464476 h 3851137"/>
                  <a:gd name="connsiteX14" fmla="*/ 2064511 w 11239501"/>
                  <a:gd name="connsiteY14" fmla="*/ 1830236 h 3851137"/>
                  <a:gd name="connsiteX15" fmla="*/ 8813546 w 11239501"/>
                  <a:gd name="connsiteY15" fmla="*/ 1838020 h 3851137"/>
                  <a:gd name="connsiteX16" fmla="*/ 9362187 w 11239501"/>
                  <a:gd name="connsiteY16" fmla="*/ 2386660 h 3851137"/>
                  <a:gd name="connsiteX17" fmla="*/ 8924117 w 11239501"/>
                  <a:gd name="connsiteY17" fmla="*/ 2924154 h 3851137"/>
                  <a:gd name="connsiteX18" fmla="*/ 8854375 w 11239501"/>
                  <a:gd name="connsiteY18" fmla="*/ 2931184 h 3851137"/>
                  <a:gd name="connsiteX19" fmla="*/ 8854375 w 11239501"/>
                  <a:gd name="connsiteY19" fmla="*/ 2936736 h 3851137"/>
                  <a:gd name="connsiteX20" fmla="*/ 6958138 w 11239501"/>
                  <a:gd name="connsiteY20" fmla="*/ 2936736 h 3851137"/>
                  <a:gd name="connsiteX21" fmla="*/ 6592378 w 11239501"/>
                  <a:gd name="connsiteY21" fmla="*/ 3302496 h 3851137"/>
                  <a:gd name="connsiteX22" fmla="*/ 6958138 w 11239501"/>
                  <a:gd name="connsiteY22" fmla="*/ 3668256 h 3851137"/>
                  <a:gd name="connsiteX23" fmla="*/ 9829801 w 11239501"/>
                  <a:gd name="connsiteY23" fmla="*/ 3656427 h 3851137"/>
                  <a:gd name="connsiteX24" fmla="*/ 11239501 w 11239501"/>
                  <a:gd name="connsiteY24" fmla="*/ 3650078 h 3851137"/>
                  <a:gd name="connsiteX25" fmla="*/ 11239501 w 11239501"/>
                  <a:gd name="connsiteY25" fmla="*/ 3851137 h 3851137"/>
                  <a:gd name="connsiteX26" fmla="*/ 8448782 w 11239501"/>
                  <a:gd name="connsiteY26" fmla="*/ 3851137 h 3851137"/>
                  <a:gd name="connsiteX27" fmla="*/ 8448782 w 11239501"/>
                  <a:gd name="connsiteY27" fmla="*/ 3851136 h 3851137"/>
                  <a:gd name="connsiteX28" fmla="*/ 6912418 w 11239501"/>
                  <a:gd name="connsiteY28" fmla="*/ 3851136 h 3851137"/>
                  <a:gd name="connsiteX29" fmla="*/ 6363778 w 11239501"/>
                  <a:gd name="connsiteY29" fmla="*/ 3302496 h 3851137"/>
                  <a:gd name="connsiteX30" fmla="*/ 6801848 w 11239501"/>
                  <a:gd name="connsiteY30" fmla="*/ 2765002 h 3851137"/>
                  <a:gd name="connsiteX31" fmla="*/ 6871589 w 11239501"/>
                  <a:gd name="connsiteY31" fmla="*/ 2757972 h 3851137"/>
                  <a:gd name="connsiteX32" fmla="*/ 6871589 w 11239501"/>
                  <a:gd name="connsiteY32" fmla="*/ 2752420 h 3851137"/>
                  <a:gd name="connsiteX33" fmla="*/ 8767827 w 11239501"/>
                  <a:gd name="connsiteY33" fmla="*/ 2752420 h 3851137"/>
                  <a:gd name="connsiteX34" fmla="*/ 9133586 w 11239501"/>
                  <a:gd name="connsiteY34" fmla="*/ 2386660 h 3851137"/>
                  <a:gd name="connsiteX35" fmla="*/ 8767827 w 11239501"/>
                  <a:gd name="connsiteY35" fmla="*/ 2020900 h 3851137"/>
                  <a:gd name="connsiteX36" fmla="*/ 2216151 w 11239501"/>
                  <a:gd name="connsiteY36" fmla="*/ 2027271 h 3851137"/>
                  <a:gd name="connsiteX37" fmla="*/ 2018791 w 11239501"/>
                  <a:gd name="connsiteY37" fmla="*/ 2013116 h 3851137"/>
                  <a:gd name="connsiteX38" fmla="*/ 1470151 w 11239501"/>
                  <a:gd name="connsiteY38" fmla="*/ 1464476 h 3851137"/>
                  <a:gd name="connsiteX39" fmla="*/ 1908221 w 11239501"/>
                  <a:gd name="connsiteY39" fmla="*/ 926982 h 3851137"/>
                  <a:gd name="connsiteX40" fmla="*/ 1977962 w 11239501"/>
                  <a:gd name="connsiteY40" fmla="*/ 919952 h 3851137"/>
                  <a:gd name="connsiteX41" fmla="*/ 3874200 w 11239501"/>
                  <a:gd name="connsiteY41" fmla="*/ 914400 h 3851137"/>
                  <a:gd name="connsiteX42" fmla="*/ 4239959 w 11239501"/>
                  <a:gd name="connsiteY42" fmla="*/ 548640 h 3851137"/>
                  <a:gd name="connsiteX43" fmla="*/ 3874200 w 11239501"/>
                  <a:gd name="connsiteY43" fmla="*/ 182880 h 3851137"/>
                  <a:gd name="connsiteX44" fmla="*/ 584136 w 11239501"/>
                  <a:gd name="connsiteY44" fmla="*/ 182880 h 3851137"/>
                  <a:gd name="connsiteX45" fmla="*/ 584136 w 11239501"/>
                  <a:gd name="connsiteY45" fmla="*/ 180977 h 3851137"/>
                  <a:gd name="connsiteX46" fmla="*/ 0 w 11239501"/>
                  <a:gd name="connsiteY46" fmla="*/ 180977 h 3851137"/>
                  <a:gd name="connsiteX47" fmla="*/ 0 w 11239501"/>
                  <a:gd name="connsiteY47" fmla="*/ 0 h 385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1239501" h="3851137">
                    <a:moveTo>
                      <a:pt x="0" y="0"/>
                    </a:moveTo>
                    <a:lnTo>
                      <a:pt x="584136" y="0"/>
                    </a:lnTo>
                    <a:lnTo>
                      <a:pt x="832739" y="0"/>
                    </a:lnTo>
                    <a:lnTo>
                      <a:pt x="1393826" y="0"/>
                    </a:lnTo>
                    <a:lnTo>
                      <a:pt x="1977962" y="0"/>
                    </a:lnTo>
                    <a:lnTo>
                      <a:pt x="2226565" y="0"/>
                    </a:lnTo>
                    <a:lnTo>
                      <a:pt x="2507876" y="0"/>
                    </a:lnTo>
                    <a:lnTo>
                      <a:pt x="3919919" y="0"/>
                    </a:lnTo>
                    <a:cubicBezTo>
                      <a:pt x="4222925" y="0"/>
                      <a:pt x="4468560" y="245634"/>
                      <a:pt x="4468560" y="548640"/>
                    </a:cubicBezTo>
                    <a:cubicBezTo>
                      <a:pt x="4468560" y="813770"/>
                      <a:pt x="4280496" y="1034975"/>
                      <a:pt x="4030490" y="1086134"/>
                    </a:cubicBezTo>
                    <a:lnTo>
                      <a:pt x="3960748" y="1093164"/>
                    </a:lnTo>
                    <a:lnTo>
                      <a:pt x="3960748" y="1098716"/>
                    </a:lnTo>
                    <a:lnTo>
                      <a:pt x="2064511" y="1098716"/>
                    </a:lnTo>
                    <a:cubicBezTo>
                      <a:pt x="1862507" y="1098716"/>
                      <a:pt x="1698751" y="1262472"/>
                      <a:pt x="1698751" y="1464476"/>
                    </a:cubicBezTo>
                    <a:cubicBezTo>
                      <a:pt x="1698751" y="1666480"/>
                      <a:pt x="1862507" y="1830236"/>
                      <a:pt x="2064511" y="1830236"/>
                    </a:cubicBezTo>
                    <a:lnTo>
                      <a:pt x="8813546" y="1838020"/>
                    </a:lnTo>
                    <a:cubicBezTo>
                      <a:pt x="9116552" y="1838020"/>
                      <a:pt x="9362187" y="2083654"/>
                      <a:pt x="9362187" y="2386660"/>
                    </a:cubicBezTo>
                    <a:cubicBezTo>
                      <a:pt x="9362187" y="2651790"/>
                      <a:pt x="9174123" y="2872995"/>
                      <a:pt x="8924117" y="2924154"/>
                    </a:cubicBezTo>
                    <a:lnTo>
                      <a:pt x="8854375" y="2931184"/>
                    </a:lnTo>
                    <a:lnTo>
                      <a:pt x="8854375" y="2936736"/>
                    </a:lnTo>
                    <a:lnTo>
                      <a:pt x="6958138" y="2936736"/>
                    </a:lnTo>
                    <a:cubicBezTo>
                      <a:pt x="6756134" y="2936736"/>
                      <a:pt x="6592378" y="3100492"/>
                      <a:pt x="6592378" y="3302496"/>
                    </a:cubicBezTo>
                    <a:cubicBezTo>
                      <a:pt x="6592378" y="3504500"/>
                      <a:pt x="6756134" y="3668256"/>
                      <a:pt x="6958138" y="3668256"/>
                    </a:cubicBezTo>
                    <a:lnTo>
                      <a:pt x="9829801" y="3656427"/>
                    </a:lnTo>
                    <a:lnTo>
                      <a:pt x="11239501" y="3650078"/>
                    </a:lnTo>
                    <a:lnTo>
                      <a:pt x="11239501" y="3851137"/>
                    </a:lnTo>
                    <a:lnTo>
                      <a:pt x="8448782" y="3851137"/>
                    </a:lnTo>
                    <a:lnTo>
                      <a:pt x="8448782" y="3851136"/>
                    </a:lnTo>
                    <a:lnTo>
                      <a:pt x="6912418" y="3851136"/>
                    </a:lnTo>
                    <a:cubicBezTo>
                      <a:pt x="6609412" y="3851136"/>
                      <a:pt x="6363778" y="3605502"/>
                      <a:pt x="6363778" y="3302496"/>
                    </a:cubicBezTo>
                    <a:cubicBezTo>
                      <a:pt x="6363778" y="3037366"/>
                      <a:pt x="6551842" y="2816161"/>
                      <a:pt x="6801848" y="2765002"/>
                    </a:cubicBezTo>
                    <a:lnTo>
                      <a:pt x="6871589" y="2757972"/>
                    </a:lnTo>
                    <a:lnTo>
                      <a:pt x="6871589" y="2752420"/>
                    </a:lnTo>
                    <a:lnTo>
                      <a:pt x="8767827" y="2752420"/>
                    </a:lnTo>
                    <a:cubicBezTo>
                      <a:pt x="8969831" y="2752420"/>
                      <a:pt x="9133586" y="2588664"/>
                      <a:pt x="9133586" y="2386660"/>
                    </a:cubicBezTo>
                    <a:cubicBezTo>
                      <a:pt x="9133586" y="2184656"/>
                      <a:pt x="8969831" y="2020900"/>
                      <a:pt x="8767827" y="2020900"/>
                    </a:cubicBezTo>
                    <a:lnTo>
                      <a:pt x="2216151" y="2027271"/>
                    </a:lnTo>
                    <a:lnTo>
                      <a:pt x="2018791" y="2013116"/>
                    </a:lnTo>
                    <a:cubicBezTo>
                      <a:pt x="1715785" y="2013116"/>
                      <a:pt x="1470151" y="1767482"/>
                      <a:pt x="1470151" y="1464476"/>
                    </a:cubicBezTo>
                    <a:cubicBezTo>
                      <a:pt x="1470151" y="1199346"/>
                      <a:pt x="1658215" y="978141"/>
                      <a:pt x="1908221" y="926982"/>
                    </a:cubicBezTo>
                    <a:lnTo>
                      <a:pt x="1977962" y="919952"/>
                    </a:lnTo>
                    <a:lnTo>
                      <a:pt x="3874200" y="914400"/>
                    </a:lnTo>
                    <a:cubicBezTo>
                      <a:pt x="4076204" y="914400"/>
                      <a:pt x="4239959" y="750644"/>
                      <a:pt x="4239959" y="548640"/>
                    </a:cubicBezTo>
                    <a:cubicBezTo>
                      <a:pt x="4239959" y="346636"/>
                      <a:pt x="4076204" y="182880"/>
                      <a:pt x="3874200" y="182880"/>
                    </a:cubicBezTo>
                    <a:lnTo>
                      <a:pt x="584136" y="182880"/>
                    </a:lnTo>
                    <a:lnTo>
                      <a:pt x="584136" y="180977"/>
                    </a:lnTo>
                    <a:lnTo>
                      <a:pt x="0" y="1809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IN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>
              <a:xfrm>
                <a:off x="503872" y="2226374"/>
                <a:ext cx="11206544" cy="3672664"/>
              </a:xfrm>
              <a:custGeom>
                <a:avLst/>
                <a:gdLst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6744"/>
                  <a:gd name="connsiteX1" fmla="*/ 2514600 w 8449056"/>
                  <a:gd name="connsiteY1" fmla="*/ 0 h 3666744"/>
                  <a:gd name="connsiteX2" fmla="*/ 2514600 w 8449056"/>
                  <a:gd name="connsiteY2" fmla="*/ 923544 h 3666744"/>
                  <a:gd name="connsiteX3" fmla="*/ 594360 w 8449056"/>
                  <a:gd name="connsiteY3" fmla="*/ 923544 h 3666744"/>
                  <a:gd name="connsiteX4" fmla="*/ 594360 w 8449056"/>
                  <a:gd name="connsiteY4" fmla="*/ 1837944 h 3666744"/>
                  <a:gd name="connsiteX5" fmla="*/ 7434072 w 8449056"/>
                  <a:gd name="connsiteY5" fmla="*/ 1837944 h 3666744"/>
                  <a:gd name="connsiteX6" fmla="*/ 7434072 w 8449056"/>
                  <a:gd name="connsiteY6" fmla="*/ 2761488 h 3666744"/>
                  <a:gd name="connsiteX7" fmla="*/ 5495544 w 8449056"/>
                  <a:gd name="connsiteY7" fmla="*/ 2761488 h 3666744"/>
                  <a:gd name="connsiteX8" fmla="*/ 5495544 w 8449056"/>
                  <a:gd name="connsiteY8" fmla="*/ 3666744 h 3666744"/>
                  <a:gd name="connsiteX9" fmla="*/ 8449056 w 8449056"/>
                  <a:gd name="connsiteY9" fmla="*/ 3666744 h 3666744"/>
                  <a:gd name="connsiteX0" fmla="*/ 0 w 8449056"/>
                  <a:gd name="connsiteY0" fmla="*/ 0 h 3667890"/>
                  <a:gd name="connsiteX1" fmla="*/ 2514600 w 8449056"/>
                  <a:gd name="connsiteY1" fmla="*/ 0 h 3667890"/>
                  <a:gd name="connsiteX2" fmla="*/ 2514600 w 8449056"/>
                  <a:gd name="connsiteY2" fmla="*/ 923544 h 3667890"/>
                  <a:gd name="connsiteX3" fmla="*/ 594360 w 8449056"/>
                  <a:gd name="connsiteY3" fmla="*/ 923544 h 3667890"/>
                  <a:gd name="connsiteX4" fmla="*/ 594360 w 8449056"/>
                  <a:gd name="connsiteY4" fmla="*/ 1837944 h 3667890"/>
                  <a:gd name="connsiteX5" fmla="*/ 7434072 w 8449056"/>
                  <a:gd name="connsiteY5" fmla="*/ 1837944 h 3667890"/>
                  <a:gd name="connsiteX6" fmla="*/ 7434072 w 8449056"/>
                  <a:gd name="connsiteY6" fmla="*/ 2761488 h 3667890"/>
                  <a:gd name="connsiteX7" fmla="*/ 5495544 w 8449056"/>
                  <a:gd name="connsiteY7" fmla="*/ 2761488 h 3667890"/>
                  <a:gd name="connsiteX8" fmla="*/ 5495544 w 8449056"/>
                  <a:gd name="connsiteY8" fmla="*/ 3666744 h 3667890"/>
                  <a:gd name="connsiteX9" fmla="*/ 8449056 w 8449056"/>
                  <a:gd name="connsiteY9" fmla="*/ 3666744 h 3667890"/>
                  <a:gd name="connsiteX0" fmla="*/ 0 w 8449056"/>
                  <a:gd name="connsiteY0" fmla="*/ 0 h 3667979"/>
                  <a:gd name="connsiteX1" fmla="*/ 2514600 w 8449056"/>
                  <a:gd name="connsiteY1" fmla="*/ 0 h 3667979"/>
                  <a:gd name="connsiteX2" fmla="*/ 2514600 w 8449056"/>
                  <a:gd name="connsiteY2" fmla="*/ 923544 h 3667979"/>
                  <a:gd name="connsiteX3" fmla="*/ 594360 w 8449056"/>
                  <a:gd name="connsiteY3" fmla="*/ 923544 h 3667979"/>
                  <a:gd name="connsiteX4" fmla="*/ 594360 w 8449056"/>
                  <a:gd name="connsiteY4" fmla="*/ 1837944 h 3667979"/>
                  <a:gd name="connsiteX5" fmla="*/ 7434072 w 8449056"/>
                  <a:gd name="connsiteY5" fmla="*/ 1837944 h 3667979"/>
                  <a:gd name="connsiteX6" fmla="*/ 7434072 w 8449056"/>
                  <a:gd name="connsiteY6" fmla="*/ 2761488 h 3667979"/>
                  <a:gd name="connsiteX7" fmla="*/ 5495544 w 8449056"/>
                  <a:gd name="connsiteY7" fmla="*/ 2761488 h 3667979"/>
                  <a:gd name="connsiteX8" fmla="*/ 5495544 w 8449056"/>
                  <a:gd name="connsiteY8" fmla="*/ 3666744 h 3667979"/>
                  <a:gd name="connsiteX9" fmla="*/ 8449056 w 8449056"/>
                  <a:gd name="connsiteY9" fmla="*/ 3666744 h 3667979"/>
                  <a:gd name="connsiteX0" fmla="*/ 0 w 8449056"/>
                  <a:gd name="connsiteY0" fmla="*/ 0 h 3667902"/>
                  <a:gd name="connsiteX1" fmla="*/ 2514600 w 8449056"/>
                  <a:gd name="connsiteY1" fmla="*/ 0 h 3667902"/>
                  <a:gd name="connsiteX2" fmla="*/ 2514600 w 8449056"/>
                  <a:gd name="connsiteY2" fmla="*/ 923544 h 3667902"/>
                  <a:gd name="connsiteX3" fmla="*/ 594360 w 8449056"/>
                  <a:gd name="connsiteY3" fmla="*/ 923544 h 3667902"/>
                  <a:gd name="connsiteX4" fmla="*/ 594360 w 8449056"/>
                  <a:gd name="connsiteY4" fmla="*/ 1837944 h 3667902"/>
                  <a:gd name="connsiteX5" fmla="*/ 7434072 w 8449056"/>
                  <a:gd name="connsiteY5" fmla="*/ 1837944 h 3667902"/>
                  <a:gd name="connsiteX6" fmla="*/ 7434072 w 8449056"/>
                  <a:gd name="connsiteY6" fmla="*/ 2761488 h 3667902"/>
                  <a:gd name="connsiteX7" fmla="*/ 5495544 w 8449056"/>
                  <a:gd name="connsiteY7" fmla="*/ 2761488 h 3667902"/>
                  <a:gd name="connsiteX8" fmla="*/ 5495544 w 8449056"/>
                  <a:gd name="connsiteY8" fmla="*/ 3666744 h 3667902"/>
                  <a:gd name="connsiteX9" fmla="*/ 8449056 w 8449056"/>
                  <a:gd name="connsiteY9" fmla="*/ 3666744 h 3667902"/>
                  <a:gd name="connsiteX0" fmla="*/ 0 w 9820656"/>
                  <a:gd name="connsiteY0" fmla="*/ 0 h 3667902"/>
                  <a:gd name="connsiteX1" fmla="*/ 2514600 w 9820656"/>
                  <a:gd name="connsiteY1" fmla="*/ 0 h 3667902"/>
                  <a:gd name="connsiteX2" fmla="*/ 2514600 w 9820656"/>
                  <a:gd name="connsiteY2" fmla="*/ 923544 h 3667902"/>
                  <a:gd name="connsiteX3" fmla="*/ 594360 w 9820656"/>
                  <a:gd name="connsiteY3" fmla="*/ 923544 h 3667902"/>
                  <a:gd name="connsiteX4" fmla="*/ 594360 w 9820656"/>
                  <a:gd name="connsiteY4" fmla="*/ 1837944 h 3667902"/>
                  <a:gd name="connsiteX5" fmla="*/ 7434072 w 9820656"/>
                  <a:gd name="connsiteY5" fmla="*/ 1837944 h 3667902"/>
                  <a:gd name="connsiteX6" fmla="*/ 7434072 w 9820656"/>
                  <a:gd name="connsiteY6" fmla="*/ 2761488 h 3667902"/>
                  <a:gd name="connsiteX7" fmla="*/ 5495544 w 9820656"/>
                  <a:gd name="connsiteY7" fmla="*/ 2761488 h 3667902"/>
                  <a:gd name="connsiteX8" fmla="*/ 5495544 w 9820656"/>
                  <a:gd name="connsiteY8" fmla="*/ 3666744 h 3667902"/>
                  <a:gd name="connsiteX9" fmla="*/ 9820656 w 9820656"/>
                  <a:gd name="connsiteY9" fmla="*/ 3660394 h 3667902"/>
                  <a:gd name="connsiteX0" fmla="*/ 0 w 11182731"/>
                  <a:gd name="connsiteY0" fmla="*/ 0 h 3672664"/>
                  <a:gd name="connsiteX1" fmla="*/ 3876675 w 11182731"/>
                  <a:gd name="connsiteY1" fmla="*/ 4762 h 3672664"/>
                  <a:gd name="connsiteX2" fmla="*/ 3876675 w 11182731"/>
                  <a:gd name="connsiteY2" fmla="*/ 928306 h 3672664"/>
                  <a:gd name="connsiteX3" fmla="*/ 1956435 w 11182731"/>
                  <a:gd name="connsiteY3" fmla="*/ 928306 h 3672664"/>
                  <a:gd name="connsiteX4" fmla="*/ 1956435 w 11182731"/>
                  <a:gd name="connsiteY4" fmla="*/ 1842706 h 3672664"/>
                  <a:gd name="connsiteX5" fmla="*/ 8796147 w 11182731"/>
                  <a:gd name="connsiteY5" fmla="*/ 1842706 h 3672664"/>
                  <a:gd name="connsiteX6" fmla="*/ 8796147 w 11182731"/>
                  <a:gd name="connsiteY6" fmla="*/ 2766250 h 3672664"/>
                  <a:gd name="connsiteX7" fmla="*/ 6857619 w 11182731"/>
                  <a:gd name="connsiteY7" fmla="*/ 2766250 h 3672664"/>
                  <a:gd name="connsiteX8" fmla="*/ 6857619 w 11182731"/>
                  <a:gd name="connsiteY8" fmla="*/ 3671506 h 3672664"/>
                  <a:gd name="connsiteX9" fmla="*/ 11182731 w 11182731"/>
                  <a:gd name="connsiteY9" fmla="*/ 3665156 h 3672664"/>
                  <a:gd name="connsiteX0" fmla="*/ 0 w 11206544"/>
                  <a:gd name="connsiteY0" fmla="*/ 0 h 3672664"/>
                  <a:gd name="connsiteX1" fmla="*/ 3900488 w 11206544"/>
                  <a:gd name="connsiteY1" fmla="*/ 4762 h 3672664"/>
                  <a:gd name="connsiteX2" fmla="*/ 3900488 w 11206544"/>
                  <a:gd name="connsiteY2" fmla="*/ 928306 h 3672664"/>
                  <a:gd name="connsiteX3" fmla="*/ 1980248 w 11206544"/>
                  <a:gd name="connsiteY3" fmla="*/ 928306 h 3672664"/>
                  <a:gd name="connsiteX4" fmla="*/ 1980248 w 11206544"/>
                  <a:gd name="connsiteY4" fmla="*/ 1842706 h 3672664"/>
                  <a:gd name="connsiteX5" fmla="*/ 8819960 w 11206544"/>
                  <a:gd name="connsiteY5" fmla="*/ 1842706 h 3672664"/>
                  <a:gd name="connsiteX6" fmla="*/ 8819960 w 11206544"/>
                  <a:gd name="connsiteY6" fmla="*/ 2766250 h 3672664"/>
                  <a:gd name="connsiteX7" fmla="*/ 6881432 w 11206544"/>
                  <a:gd name="connsiteY7" fmla="*/ 2766250 h 3672664"/>
                  <a:gd name="connsiteX8" fmla="*/ 6881432 w 11206544"/>
                  <a:gd name="connsiteY8" fmla="*/ 3671506 h 3672664"/>
                  <a:gd name="connsiteX9" fmla="*/ 11206544 w 11206544"/>
                  <a:gd name="connsiteY9" fmla="*/ 3665156 h 3672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206544" h="3672664">
                    <a:moveTo>
                      <a:pt x="0" y="0"/>
                    </a:moveTo>
                    <a:lnTo>
                      <a:pt x="3900488" y="4762"/>
                    </a:lnTo>
                    <a:cubicBezTo>
                      <a:pt x="4568000" y="129730"/>
                      <a:pt x="4403408" y="876490"/>
                      <a:pt x="3900488" y="928306"/>
                    </a:cubicBezTo>
                    <a:lnTo>
                      <a:pt x="1980248" y="928306"/>
                    </a:lnTo>
                    <a:cubicBezTo>
                      <a:pt x="1376744" y="1022794"/>
                      <a:pt x="1513904" y="1784794"/>
                      <a:pt x="1980248" y="1842706"/>
                    </a:cubicBezTo>
                    <a:lnTo>
                      <a:pt x="8819960" y="1842706"/>
                    </a:lnTo>
                    <a:cubicBezTo>
                      <a:pt x="9313736" y="1885378"/>
                      <a:pt x="9441752" y="2677858"/>
                      <a:pt x="8819960" y="2766250"/>
                    </a:cubicBezTo>
                    <a:lnTo>
                      <a:pt x="6881432" y="2766250"/>
                    </a:lnTo>
                    <a:cubicBezTo>
                      <a:pt x="6223064" y="2866834"/>
                      <a:pt x="6469952" y="3708082"/>
                      <a:pt x="6881432" y="3671506"/>
                    </a:cubicBezTo>
                    <a:lnTo>
                      <a:pt x="11206544" y="3665156"/>
                    </a:lnTo>
                  </a:path>
                </a:pathLst>
              </a:custGeom>
              <a:noFill/>
              <a:ln w="3810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1234467" y="373313"/>
              <a:ext cx="1044906" cy="705096"/>
              <a:chOff x="2668317" y="1201145"/>
              <a:chExt cx="1371600" cy="940128"/>
            </a:xfrm>
          </p:grpSpPr>
          <p:grpSp>
            <p:nvGrpSpPr>
              <p:cNvPr id="60" name="Group 59"/>
              <p:cNvGrpSpPr/>
              <p:nvPr/>
            </p:nvGrpSpPr>
            <p:grpSpPr>
              <a:xfrm>
                <a:off x="2848408" y="1775513"/>
                <a:ext cx="1011418" cy="365760"/>
                <a:chOff x="747713" y="1738193"/>
                <a:chExt cx="1011418" cy="365760"/>
              </a:xfrm>
            </p:grpSpPr>
            <p:sp>
              <p:nvSpPr>
                <p:cNvPr id="63" name="Rounded Rectangle 62"/>
                <p:cNvSpPr/>
                <p:nvPr/>
              </p:nvSpPr>
              <p:spPr>
                <a:xfrm>
                  <a:off x="747713" y="1738193"/>
                  <a:ext cx="58190" cy="36576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" name="Rounded Rectangle 63"/>
                <p:cNvSpPr/>
                <p:nvPr/>
              </p:nvSpPr>
              <p:spPr>
                <a:xfrm>
                  <a:off x="1700941" y="1738193"/>
                  <a:ext cx="58190" cy="36576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2" name="Group 11"/>
              <p:cNvGrpSpPr/>
              <p:nvPr/>
            </p:nvGrpSpPr>
            <p:grpSpPr>
              <a:xfrm>
                <a:off x="2668317" y="1201145"/>
                <a:ext cx="1371600" cy="678639"/>
                <a:chOff x="2668317" y="1201145"/>
                <a:chExt cx="1371600" cy="678639"/>
              </a:xfrm>
            </p:grpSpPr>
            <p:sp>
              <p:nvSpPr>
                <p:cNvPr id="61" name="Rectangle 60"/>
                <p:cNvSpPr/>
                <p:nvPr/>
              </p:nvSpPr>
              <p:spPr>
                <a:xfrm>
                  <a:off x="2668317" y="1201145"/>
                  <a:ext cx="1371600" cy="678639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" name="Rectangle 61"/>
                <p:cNvSpPr/>
                <p:nvPr/>
              </p:nvSpPr>
              <p:spPr>
                <a:xfrm>
                  <a:off x="2714037" y="1254139"/>
                  <a:ext cx="1280160" cy="572650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wrap="square" lIns="34290" tIns="34290" rIns="34290" bIns="34290" rtlCol="0" anchor="ctr"/>
                <a:lstStyle/>
                <a:p>
                  <a:pPr algn="ctr"/>
                  <a:r>
                    <a:rPr lang="fa-IR" sz="1600" b="1" dirty="0">
                      <a:solidFill>
                        <a:srgbClr val="FFFFFF"/>
                      </a:solidFill>
                      <a:cs typeface="B Titr" panose="00000700000000000000" pitchFamily="2" charset="-78"/>
                    </a:rPr>
                    <a:t>سال 2000 ميلادي</a:t>
                  </a:r>
                  <a:endParaRPr lang="en-IN" sz="1600" b="1" dirty="0">
                    <a:solidFill>
                      <a:srgbClr val="FFFFFF"/>
                    </a:solidFill>
                    <a:cs typeface="B Titr" panose="00000700000000000000" pitchFamily="2" charset="-78"/>
                  </a:endParaRPr>
                </a:p>
              </p:txBody>
            </p:sp>
          </p:grpSp>
        </p:grpSp>
        <p:sp>
          <p:nvSpPr>
            <p:cNvPr id="65" name="Rectangle 64"/>
            <p:cNvSpPr/>
            <p:nvPr/>
          </p:nvSpPr>
          <p:spPr>
            <a:xfrm>
              <a:off x="2400578" y="366810"/>
              <a:ext cx="3743299" cy="50038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171450" indent="-171450" algn="r" rtl="1">
                <a:lnSpc>
                  <a:spcPct val="150000"/>
                </a:lnSpc>
                <a:buClr>
                  <a:srgbClr val="FF0000"/>
                </a:buClr>
                <a:buFont typeface="Wingdings" panose="05000000000000000000" pitchFamily="2" charset="2"/>
                <a:buChar char="v"/>
              </a:pP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مدل </a:t>
              </a:r>
              <a:r>
                <a:rPr lang="en-US" b="1" dirty="0" err="1" smtClean="0">
                  <a:latin typeface="Times New Roman" panose="02020603050405020304" pitchFamily="18" charset="0"/>
                  <a:cs typeface="B Zar" panose="00000400000000000000" pitchFamily="2" charset="-78"/>
                </a:rPr>
                <a:t>McConel</a:t>
              </a:r>
              <a:r>
                <a:rPr lang="fa-IR" b="1" dirty="0" smtClean="0">
                  <a:latin typeface="Times New Roman" panose="02020603050405020304" pitchFamily="18" charset="0"/>
                  <a:cs typeface="B Zar" panose="00000400000000000000" pitchFamily="2" charset="-78"/>
                </a:rPr>
                <a:t> </a:t>
              </a: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(آمادگي زيرساخت فنّاوري + منابع انساني)</a:t>
              </a:r>
              <a:endParaRPr lang="en-US" b="1" dirty="0">
                <a:latin typeface="Times New Roman" panose="02020603050405020304" pitchFamily="18" charset="0"/>
                <a:cs typeface="B Zar" panose="00000400000000000000" pitchFamily="2" charset="-78"/>
              </a:endParaRPr>
            </a:p>
            <a:p>
              <a:pPr marL="171450" indent="-171450" algn="r" rtl="1">
                <a:lnSpc>
                  <a:spcPct val="150000"/>
                </a:lnSpc>
                <a:buClr>
                  <a:srgbClr val="FF0000"/>
                </a:buClr>
                <a:buFont typeface="Wingdings" panose="05000000000000000000" pitchFamily="2" charset="2"/>
                <a:buChar char="v"/>
              </a:pP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مدل </a:t>
              </a:r>
              <a:r>
                <a:rPr lang="en-US" b="1" dirty="0" smtClean="0">
                  <a:latin typeface="Times New Roman" panose="02020603050405020304" pitchFamily="18" charset="0"/>
                  <a:cs typeface="B Zar" panose="00000400000000000000" pitchFamily="2" charset="-78"/>
                </a:rPr>
                <a:t>WITSA</a:t>
              </a:r>
              <a:r>
                <a:rPr lang="fa-IR" b="1" dirty="0" smtClean="0">
                  <a:latin typeface="Times New Roman" panose="02020603050405020304" pitchFamily="18" charset="0"/>
                  <a:cs typeface="B Zar" panose="00000400000000000000" pitchFamily="2" charset="-78"/>
                </a:rPr>
                <a:t> (+</a:t>
              </a:r>
              <a:r>
                <a:rPr lang="en-US" b="1" dirty="0" smtClean="0">
                  <a:latin typeface="Times New Roman" panose="02020603050405020304" pitchFamily="18" charset="0"/>
                  <a:cs typeface="B Zar" panose="00000400000000000000" pitchFamily="2" charset="-78"/>
                </a:rPr>
                <a:t> </a:t>
              </a:r>
              <a:r>
                <a:rPr lang="fa-IR" b="1" dirty="0" smtClean="0">
                  <a:latin typeface="Times New Roman" panose="02020603050405020304" pitchFamily="18" charset="0"/>
                  <a:cs typeface="B Zar" panose="00000400000000000000" pitchFamily="2" charset="-78"/>
                </a:rPr>
                <a:t>آمادگی سياست + منابع مالی) </a:t>
              </a:r>
              <a:endParaRPr lang="en-IN" b="1" dirty="0">
                <a:latin typeface="Times New Roman" panose="02020603050405020304" pitchFamily="18" charset="0"/>
                <a:cs typeface="B Zar" panose="00000400000000000000" pitchFamily="2" charset="-78"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2843808" y="1008778"/>
              <a:ext cx="1044906" cy="705096"/>
              <a:chOff x="3898081" y="2048432"/>
              <a:chExt cx="1371600" cy="940128"/>
            </a:xfrm>
          </p:grpSpPr>
          <p:grpSp>
            <p:nvGrpSpPr>
              <p:cNvPr id="67" name="Group 66"/>
              <p:cNvGrpSpPr/>
              <p:nvPr/>
            </p:nvGrpSpPr>
            <p:grpSpPr>
              <a:xfrm>
                <a:off x="4078172" y="2622800"/>
                <a:ext cx="1011419" cy="365760"/>
                <a:chOff x="457710" y="1738193"/>
                <a:chExt cx="1011419" cy="365760"/>
              </a:xfrm>
            </p:grpSpPr>
            <p:sp>
              <p:nvSpPr>
                <p:cNvPr id="70" name="Rounded Rectangle 69"/>
                <p:cNvSpPr/>
                <p:nvPr/>
              </p:nvSpPr>
              <p:spPr>
                <a:xfrm>
                  <a:off x="457710" y="1738193"/>
                  <a:ext cx="58190" cy="36576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1" name="Rounded Rectangle 70"/>
                <p:cNvSpPr/>
                <p:nvPr/>
              </p:nvSpPr>
              <p:spPr>
                <a:xfrm>
                  <a:off x="1410939" y="1738193"/>
                  <a:ext cx="58190" cy="36576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6" name="Group 15"/>
              <p:cNvGrpSpPr/>
              <p:nvPr/>
            </p:nvGrpSpPr>
            <p:grpSpPr>
              <a:xfrm>
                <a:off x="3898081" y="2048432"/>
                <a:ext cx="1371600" cy="678639"/>
                <a:chOff x="3898081" y="2048432"/>
                <a:chExt cx="1371600" cy="678639"/>
              </a:xfrm>
            </p:grpSpPr>
            <p:sp>
              <p:nvSpPr>
                <p:cNvPr id="68" name="Rectangle 67"/>
                <p:cNvSpPr/>
                <p:nvPr/>
              </p:nvSpPr>
              <p:spPr>
                <a:xfrm>
                  <a:off x="3898081" y="2048432"/>
                  <a:ext cx="1371600" cy="678639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9" name="Rectangle 68"/>
                <p:cNvSpPr/>
                <p:nvPr/>
              </p:nvSpPr>
              <p:spPr>
                <a:xfrm>
                  <a:off x="3943802" y="2101426"/>
                  <a:ext cx="1280159" cy="57265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wrap="square" lIns="34290" tIns="34290" rIns="34290" bIns="34290" rtlCol="0" anchor="ctr"/>
                <a:lstStyle/>
                <a:p>
                  <a:pPr algn="ctr"/>
                  <a:r>
                    <a:rPr lang="fa-IR" sz="1600" b="1" dirty="0">
                      <a:solidFill>
                        <a:srgbClr val="FFFFFF"/>
                      </a:solidFill>
                      <a:cs typeface="B Titr" panose="00000700000000000000" pitchFamily="2" charset="-78"/>
                    </a:rPr>
                    <a:t>سال 2001 ميلادي</a:t>
                  </a:r>
                  <a:endParaRPr lang="en-IN" sz="1600" b="1" dirty="0">
                    <a:solidFill>
                      <a:srgbClr val="FFFFFF"/>
                    </a:solidFill>
                    <a:cs typeface="B Titr" panose="00000700000000000000" pitchFamily="2" charset="-78"/>
                  </a:endParaRPr>
                </a:p>
              </p:txBody>
            </p:sp>
          </p:grpSp>
        </p:grpSp>
        <p:grpSp>
          <p:nvGrpSpPr>
            <p:cNvPr id="19" name="Group 18"/>
            <p:cNvGrpSpPr/>
            <p:nvPr/>
          </p:nvGrpSpPr>
          <p:grpSpPr>
            <a:xfrm>
              <a:off x="2446975" y="1931816"/>
              <a:ext cx="1044906" cy="705096"/>
              <a:chOff x="4900003" y="3685431"/>
              <a:chExt cx="1371600" cy="940128"/>
            </a:xfrm>
          </p:grpSpPr>
          <p:grpSp>
            <p:nvGrpSpPr>
              <p:cNvPr id="73" name="Group 72"/>
              <p:cNvGrpSpPr/>
              <p:nvPr/>
            </p:nvGrpSpPr>
            <p:grpSpPr>
              <a:xfrm>
                <a:off x="5080093" y="4259799"/>
                <a:ext cx="1011419" cy="365760"/>
                <a:chOff x="1699238" y="1746880"/>
                <a:chExt cx="1011419" cy="365760"/>
              </a:xfrm>
            </p:grpSpPr>
            <p:sp>
              <p:nvSpPr>
                <p:cNvPr id="77" name="Rounded Rectangle 76"/>
                <p:cNvSpPr/>
                <p:nvPr/>
              </p:nvSpPr>
              <p:spPr>
                <a:xfrm>
                  <a:off x="1699238" y="1746880"/>
                  <a:ext cx="58190" cy="36576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8" name="Rounded Rectangle 77"/>
                <p:cNvSpPr/>
                <p:nvPr/>
              </p:nvSpPr>
              <p:spPr>
                <a:xfrm>
                  <a:off x="2652467" y="1746880"/>
                  <a:ext cx="58190" cy="36576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4900003" y="3685431"/>
                <a:ext cx="1371600" cy="678639"/>
                <a:chOff x="4900003" y="3685431"/>
                <a:chExt cx="1371600" cy="678639"/>
              </a:xfrm>
            </p:grpSpPr>
            <p:sp>
              <p:nvSpPr>
                <p:cNvPr id="74" name="Rectangle 73"/>
                <p:cNvSpPr/>
                <p:nvPr/>
              </p:nvSpPr>
              <p:spPr>
                <a:xfrm>
                  <a:off x="4900003" y="3685431"/>
                  <a:ext cx="1371600" cy="678639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5" name="Rectangle 74"/>
                <p:cNvSpPr/>
                <p:nvPr/>
              </p:nvSpPr>
              <p:spPr>
                <a:xfrm>
                  <a:off x="4945724" y="3738423"/>
                  <a:ext cx="1280162" cy="572651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wrap="square" lIns="34290" tIns="34290" rIns="34290" bIns="34290" rtlCol="0" anchor="ctr"/>
                <a:lstStyle/>
                <a:p>
                  <a:pPr algn="ctr"/>
                  <a:r>
                    <a:rPr lang="fa-IR" sz="1600" b="1" dirty="0">
                      <a:solidFill>
                        <a:srgbClr val="FFFFFF"/>
                      </a:solidFill>
                      <a:cs typeface="B Titr" panose="00000700000000000000" pitchFamily="2" charset="-78"/>
                    </a:rPr>
                    <a:t>سال 2005 ميلادي</a:t>
                  </a:r>
                  <a:endParaRPr lang="en-IN" sz="1600" b="1" dirty="0">
                    <a:solidFill>
                      <a:srgbClr val="FFFFFF"/>
                    </a:solidFill>
                    <a:cs typeface="B Titr" panose="00000700000000000000" pitchFamily="2" charset="-78"/>
                  </a:endParaRPr>
                </a:p>
              </p:txBody>
            </p:sp>
          </p:grpSp>
        </p:grpSp>
        <p:grpSp>
          <p:nvGrpSpPr>
            <p:cNvPr id="24" name="Group 23"/>
            <p:cNvGrpSpPr/>
            <p:nvPr/>
          </p:nvGrpSpPr>
          <p:grpSpPr>
            <a:xfrm>
              <a:off x="4788024" y="2924944"/>
              <a:ext cx="1044906" cy="705096"/>
              <a:chOff x="3430212" y="4641935"/>
              <a:chExt cx="1371600" cy="940128"/>
            </a:xfrm>
          </p:grpSpPr>
          <p:grpSp>
            <p:nvGrpSpPr>
              <p:cNvPr id="82" name="Group 81"/>
              <p:cNvGrpSpPr/>
              <p:nvPr/>
            </p:nvGrpSpPr>
            <p:grpSpPr>
              <a:xfrm>
                <a:off x="3610303" y="5216303"/>
                <a:ext cx="1011418" cy="365760"/>
                <a:chOff x="-2362808" y="1242962"/>
                <a:chExt cx="1011418" cy="365760"/>
              </a:xfrm>
            </p:grpSpPr>
            <p:sp>
              <p:nvSpPr>
                <p:cNvPr id="86" name="Rounded Rectangle 85"/>
                <p:cNvSpPr/>
                <p:nvPr/>
              </p:nvSpPr>
              <p:spPr>
                <a:xfrm>
                  <a:off x="-2362808" y="1242962"/>
                  <a:ext cx="58190" cy="36576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7" name="Rounded Rectangle 86"/>
                <p:cNvSpPr/>
                <p:nvPr/>
              </p:nvSpPr>
              <p:spPr>
                <a:xfrm>
                  <a:off x="-1409580" y="1242962"/>
                  <a:ext cx="58190" cy="36576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3" name="Group 22"/>
              <p:cNvGrpSpPr/>
              <p:nvPr/>
            </p:nvGrpSpPr>
            <p:grpSpPr>
              <a:xfrm>
                <a:off x="3430212" y="4641935"/>
                <a:ext cx="1371600" cy="678639"/>
                <a:chOff x="3430212" y="4641935"/>
                <a:chExt cx="1371600" cy="678639"/>
              </a:xfrm>
            </p:grpSpPr>
            <p:sp>
              <p:nvSpPr>
                <p:cNvPr id="83" name="Rectangle 82"/>
                <p:cNvSpPr/>
                <p:nvPr/>
              </p:nvSpPr>
              <p:spPr>
                <a:xfrm>
                  <a:off x="3430212" y="4641935"/>
                  <a:ext cx="1371600" cy="678639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5" name="Rectangle 84"/>
                <p:cNvSpPr/>
                <p:nvPr/>
              </p:nvSpPr>
              <p:spPr>
                <a:xfrm>
                  <a:off x="3475933" y="4694928"/>
                  <a:ext cx="1280161" cy="572650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wrap="square" lIns="34290" tIns="34290" rIns="34290" bIns="34290" rtlCol="0" anchor="ctr"/>
                <a:lstStyle/>
                <a:p>
                  <a:pPr algn="ctr"/>
                  <a:r>
                    <a:rPr lang="fa-IR" sz="1600" b="1" dirty="0">
                      <a:solidFill>
                        <a:srgbClr val="FFFFFF"/>
                      </a:solidFill>
                      <a:cs typeface="B Titr" panose="00000700000000000000" pitchFamily="2" charset="-78"/>
                    </a:rPr>
                    <a:t>سال 2011 ميلادي</a:t>
                  </a:r>
                  <a:endParaRPr lang="en-IN" sz="1600" b="1" dirty="0">
                    <a:solidFill>
                      <a:srgbClr val="FFFFFF"/>
                    </a:solidFill>
                    <a:cs typeface="B Titr" panose="00000700000000000000" pitchFamily="2" charset="-78"/>
                  </a:endParaRPr>
                </a:p>
              </p:txBody>
            </p:sp>
          </p:grpSp>
        </p:grpSp>
        <p:grpSp>
          <p:nvGrpSpPr>
            <p:cNvPr id="22" name="Group 21"/>
            <p:cNvGrpSpPr/>
            <p:nvPr/>
          </p:nvGrpSpPr>
          <p:grpSpPr>
            <a:xfrm>
              <a:off x="4716016" y="1713874"/>
              <a:ext cx="1044906" cy="705096"/>
              <a:chOff x="6594405" y="2988560"/>
              <a:chExt cx="1371600" cy="940128"/>
            </a:xfrm>
          </p:grpSpPr>
          <p:grpSp>
            <p:nvGrpSpPr>
              <p:cNvPr id="90" name="Group 89"/>
              <p:cNvGrpSpPr/>
              <p:nvPr/>
            </p:nvGrpSpPr>
            <p:grpSpPr>
              <a:xfrm>
                <a:off x="6774496" y="3562928"/>
                <a:ext cx="1011418" cy="365760"/>
                <a:chOff x="-942907" y="1738193"/>
                <a:chExt cx="1011418" cy="365760"/>
              </a:xfrm>
            </p:grpSpPr>
            <p:sp>
              <p:nvSpPr>
                <p:cNvPr id="93" name="Rounded Rectangle 92"/>
                <p:cNvSpPr/>
                <p:nvPr/>
              </p:nvSpPr>
              <p:spPr>
                <a:xfrm>
                  <a:off x="-942907" y="1738193"/>
                  <a:ext cx="58190" cy="36576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4" name="Rounded Rectangle 93"/>
                <p:cNvSpPr/>
                <p:nvPr/>
              </p:nvSpPr>
              <p:spPr>
                <a:xfrm>
                  <a:off x="10321" y="1738193"/>
                  <a:ext cx="58190" cy="36576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0" name="Group 19"/>
              <p:cNvGrpSpPr/>
              <p:nvPr/>
            </p:nvGrpSpPr>
            <p:grpSpPr>
              <a:xfrm>
                <a:off x="6594405" y="2988560"/>
                <a:ext cx="1371600" cy="678639"/>
                <a:chOff x="6594405" y="2988560"/>
                <a:chExt cx="1371600" cy="678639"/>
              </a:xfrm>
            </p:grpSpPr>
            <p:sp>
              <p:nvSpPr>
                <p:cNvPr id="91" name="Rectangle 90"/>
                <p:cNvSpPr/>
                <p:nvPr/>
              </p:nvSpPr>
              <p:spPr>
                <a:xfrm>
                  <a:off x="6594405" y="2988560"/>
                  <a:ext cx="1371600" cy="678639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2" name="Rectangle 91"/>
                <p:cNvSpPr/>
                <p:nvPr/>
              </p:nvSpPr>
              <p:spPr>
                <a:xfrm>
                  <a:off x="6640126" y="3041553"/>
                  <a:ext cx="1280159" cy="572650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wrap="square" lIns="34290" tIns="34290" rIns="34290" bIns="34290" rtlCol="0" anchor="ctr"/>
                <a:lstStyle/>
                <a:p>
                  <a:pPr algn="ctr"/>
                  <a:r>
                    <a:rPr lang="fa-IR" sz="1600" b="1" dirty="0">
                      <a:solidFill>
                        <a:srgbClr val="FFFFFF"/>
                      </a:solidFill>
                      <a:cs typeface="B Titr" panose="00000700000000000000" pitchFamily="2" charset="-78"/>
                    </a:rPr>
                    <a:t>سال 2007 ميلادي</a:t>
                  </a:r>
                  <a:endParaRPr lang="en-IN" sz="1600" b="1" dirty="0">
                    <a:solidFill>
                      <a:srgbClr val="FFFFFF"/>
                    </a:solidFill>
                    <a:cs typeface="B Titr" panose="00000700000000000000" pitchFamily="2" charset="-78"/>
                  </a:endParaRPr>
                </a:p>
              </p:txBody>
            </p:sp>
          </p:grpSp>
        </p:grpSp>
        <p:grpSp>
          <p:nvGrpSpPr>
            <p:cNvPr id="15" name="Group 14"/>
            <p:cNvGrpSpPr/>
            <p:nvPr/>
          </p:nvGrpSpPr>
          <p:grpSpPr>
            <a:xfrm>
              <a:off x="241659" y="260648"/>
              <a:ext cx="585925" cy="768999"/>
              <a:chOff x="1890302" y="1050925"/>
              <a:chExt cx="769117" cy="1025332"/>
            </a:xfrm>
          </p:grpSpPr>
          <p:grpSp>
            <p:nvGrpSpPr>
              <p:cNvPr id="14" name="Group 13"/>
              <p:cNvGrpSpPr/>
              <p:nvPr/>
            </p:nvGrpSpPr>
            <p:grpSpPr>
              <a:xfrm>
                <a:off x="2180525" y="1671209"/>
                <a:ext cx="187080" cy="405048"/>
                <a:chOff x="2180525" y="1671209"/>
                <a:chExt cx="187080" cy="405048"/>
              </a:xfrm>
            </p:grpSpPr>
            <p:sp>
              <p:nvSpPr>
                <p:cNvPr id="4" name="Oval 3"/>
                <p:cNvSpPr/>
                <p:nvPr/>
              </p:nvSpPr>
              <p:spPr>
                <a:xfrm>
                  <a:off x="2180525" y="1997681"/>
                  <a:ext cx="187080" cy="78576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" name="Rectangle 42"/>
                <p:cNvSpPr/>
                <p:nvPr/>
              </p:nvSpPr>
              <p:spPr>
                <a:xfrm>
                  <a:off x="2244970" y="1671209"/>
                  <a:ext cx="58190" cy="365760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IN" sz="140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" name="Diamond 2"/>
              <p:cNvSpPr/>
              <p:nvPr/>
            </p:nvSpPr>
            <p:spPr>
              <a:xfrm>
                <a:off x="1890302" y="1050925"/>
                <a:ext cx="769117" cy="663968"/>
              </a:xfrm>
              <a:prstGeom prst="diamond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wrap="none" lIns="0" tIns="0" rIns="0" bIns="0" rtlCol="0" anchor="ctr"/>
              <a:lstStyle/>
              <a:p>
                <a:pPr algn="ctr"/>
                <a:r>
                  <a:rPr lang="fa-IR" sz="1600" b="1" dirty="0" smtClean="0">
                    <a:solidFill>
                      <a:srgbClr val="FFC000"/>
                    </a:solidFill>
                    <a:cs typeface="B Titr" panose="00000700000000000000" pitchFamily="2" charset="-78"/>
                  </a:rPr>
                  <a:t>آغاز</a:t>
                </a:r>
                <a:endParaRPr lang="en-IN" sz="1600" b="1" dirty="0">
                  <a:solidFill>
                    <a:srgbClr val="FFC000"/>
                  </a:solidFill>
                  <a:cs typeface="B Titr" panose="00000700000000000000" pitchFamily="2" charset="-78"/>
                </a:endParaRPr>
              </a:p>
            </p:txBody>
          </p:sp>
        </p:grpSp>
        <p:sp>
          <p:nvSpPr>
            <p:cNvPr id="58" name="Rectangle 57"/>
            <p:cNvSpPr/>
            <p:nvPr/>
          </p:nvSpPr>
          <p:spPr>
            <a:xfrm>
              <a:off x="3866506" y="1152854"/>
              <a:ext cx="2533881" cy="166795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171450" indent="-171450" algn="r" rtl="1">
                <a:buClr>
                  <a:srgbClr val="FF0000"/>
                </a:buClr>
                <a:buFont typeface="Wingdings" panose="05000000000000000000" pitchFamily="2" charset="2"/>
                <a:buChar char="v"/>
              </a:pP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مدل </a:t>
              </a:r>
              <a:r>
                <a:rPr lang="en-US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Rosenberg</a:t>
              </a: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 </a:t>
              </a:r>
              <a:r>
                <a:rPr lang="fa-IR" b="1" dirty="0" smtClean="0">
                  <a:latin typeface="Times New Roman" panose="02020603050405020304" pitchFamily="18" charset="0"/>
                  <a:cs typeface="B Zar" panose="00000400000000000000" pitchFamily="2" charset="-78"/>
                </a:rPr>
                <a:t>(+ آمادگی </a:t>
              </a: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فرهنگ)</a:t>
              </a:r>
              <a:endParaRPr lang="en-US" b="1" dirty="0">
                <a:latin typeface="Times New Roman" panose="02020603050405020304" pitchFamily="18" charset="0"/>
                <a:cs typeface="B Zar" panose="00000400000000000000" pitchFamily="2" charset="-78"/>
              </a:endParaRPr>
            </a:p>
          </p:txBody>
        </p:sp>
        <p:sp>
          <p:nvSpPr>
            <p:cNvPr id="76" name="Rounded Rectangle 75"/>
            <p:cNvSpPr/>
            <p:nvPr/>
          </p:nvSpPr>
          <p:spPr>
            <a:xfrm>
              <a:off x="820764" y="2193276"/>
              <a:ext cx="44330" cy="27432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 sz="1400">
                <a:solidFill>
                  <a:srgbClr val="000000"/>
                </a:solidFill>
              </a:endParaRPr>
            </a:p>
          </p:txBody>
        </p:sp>
        <p:sp>
          <p:nvSpPr>
            <p:cNvPr id="81" name="Rounded Rectangle 80"/>
            <p:cNvSpPr/>
            <p:nvPr/>
          </p:nvSpPr>
          <p:spPr>
            <a:xfrm>
              <a:off x="1546948" y="2193276"/>
              <a:ext cx="44330" cy="27432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 sz="1400">
                <a:solidFill>
                  <a:srgbClr val="000000"/>
                </a:solidFill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683568" y="1762500"/>
              <a:ext cx="1044906" cy="508979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>
                <a:solidFill>
                  <a:srgbClr val="000000"/>
                </a:solidFill>
              </a:endParaRP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718398" y="1802245"/>
              <a:ext cx="975246" cy="429487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34290" tIns="34290" rIns="34290" bIns="34290" rtlCol="0" anchor="ctr"/>
            <a:lstStyle/>
            <a:p>
              <a:pPr algn="ctr"/>
              <a:r>
                <a:rPr lang="fa-IR" sz="1600" b="1" dirty="0">
                  <a:solidFill>
                    <a:srgbClr val="FFFFFF"/>
                  </a:solidFill>
                  <a:cs typeface="B Titr" panose="00000700000000000000" pitchFamily="2" charset="-78"/>
                </a:rPr>
                <a:t>سال 2002 ميلادي</a:t>
              </a:r>
              <a:endParaRPr lang="en-IN" sz="1600" b="1" dirty="0">
                <a:solidFill>
                  <a:srgbClr val="FFFFFF"/>
                </a:solidFill>
                <a:cs typeface="B Titr" panose="00000700000000000000" pitchFamily="2" charset="-78"/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294681" y="1370101"/>
              <a:ext cx="2504534" cy="384977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171450" indent="-171450" algn="ctr" rtl="1">
                <a:buClr>
                  <a:srgbClr val="FF0000"/>
                </a:buClr>
                <a:buFont typeface="Wingdings" panose="05000000000000000000" pitchFamily="2" charset="2"/>
                <a:buChar char="v"/>
              </a:pP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مدل </a:t>
              </a:r>
              <a:r>
                <a:rPr lang="en-US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Anderson</a:t>
              </a: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 </a:t>
              </a:r>
            </a:p>
            <a:p>
              <a:pPr algn="ctr" rtl="1">
                <a:buClr>
                  <a:srgbClr val="FF0000"/>
                </a:buClr>
              </a:pP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(+ آمادگي محتواي ديجيتالي)</a:t>
              </a:r>
              <a:endParaRPr lang="en-US" b="1" dirty="0">
                <a:latin typeface="Times New Roman" panose="02020603050405020304" pitchFamily="18" charset="0"/>
                <a:cs typeface="B Zar" panose="00000400000000000000" pitchFamily="2" charset="-78"/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35109" y="2636428"/>
              <a:ext cx="3386212" cy="1000767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171450" indent="-171450" algn="r" rtl="1">
                <a:lnSpc>
                  <a:spcPct val="150000"/>
                </a:lnSpc>
                <a:buClr>
                  <a:srgbClr val="FF0000"/>
                </a:buClr>
                <a:buFont typeface="Wingdings" panose="05000000000000000000" pitchFamily="2" charset="2"/>
                <a:buChar char="v"/>
              </a:pP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مدل </a:t>
              </a:r>
              <a:r>
                <a:rPr lang="en-US" b="1" dirty="0" err="1">
                  <a:latin typeface="Times New Roman" panose="02020603050405020304" pitchFamily="18" charset="0"/>
                  <a:cs typeface="B Zar" panose="00000400000000000000" pitchFamily="2" charset="-78"/>
                </a:rPr>
                <a:t>Chapnick</a:t>
              </a: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 (+ آمادگي آگاهي)</a:t>
              </a:r>
            </a:p>
            <a:p>
              <a:pPr marL="171450" indent="-171450" algn="r" rtl="1">
                <a:lnSpc>
                  <a:spcPct val="150000"/>
                </a:lnSpc>
                <a:buClr>
                  <a:srgbClr val="FF0000"/>
                </a:buClr>
                <a:buFont typeface="Wingdings" panose="05000000000000000000" pitchFamily="2" charset="2"/>
                <a:buChar char="v"/>
              </a:pP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مدل </a:t>
              </a:r>
              <a:r>
                <a:rPr lang="en-US" b="1" dirty="0" err="1">
                  <a:latin typeface="Times New Roman" panose="02020603050405020304" pitchFamily="18" charset="0"/>
                  <a:cs typeface="B Zar" panose="00000400000000000000" pitchFamily="2" charset="-78"/>
                </a:rPr>
                <a:t>Aydin</a:t>
              </a:r>
              <a:r>
                <a:rPr lang="en-US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 </a:t>
              </a:r>
              <a:r>
                <a:rPr lang="fa-IR" b="1" dirty="0" smtClean="0">
                  <a:latin typeface="Times New Roman" panose="02020603050405020304" pitchFamily="18" charset="0"/>
                  <a:cs typeface="B Zar" panose="00000400000000000000" pitchFamily="2" charset="-78"/>
                </a:rPr>
                <a:t> (+ </a:t>
              </a: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آمادگي</a:t>
              </a:r>
              <a:r>
                <a:rPr lang="en-US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 </a:t>
              </a: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استاندارد)</a:t>
              </a:r>
            </a:p>
            <a:p>
              <a:pPr marL="171450" indent="-171450" algn="r" rtl="1">
                <a:lnSpc>
                  <a:spcPct val="150000"/>
                </a:lnSpc>
                <a:buClr>
                  <a:srgbClr val="FF0000"/>
                </a:buClr>
                <a:buFont typeface="Wingdings" panose="05000000000000000000" pitchFamily="2" charset="2"/>
                <a:buChar char="v"/>
              </a:pP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مدل </a:t>
              </a:r>
              <a:r>
                <a:rPr lang="en-US" b="1" dirty="0" err="1">
                  <a:latin typeface="Times New Roman" panose="02020603050405020304" pitchFamily="18" charset="0"/>
                  <a:cs typeface="B Zar" panose="00000400000000000000" pitchFamily="2" charset="-78"/>
                </a:rPr>
                <a:t>Psycharis</a:t>
              </a: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 (+ آمادگي مديريت و سازمان)</a:t>
              </a:r>
              <a:endParaRPr lang="en-US" b="1" dirty="0">
                <a:latin typeface="Times New Roman" panose="02020603050405020304" pitchFamily="18" charset="0"/>
                <a:cs typeface="B Zar" panose="00000400000000000000" pitchFamily="2" charset="-78"/>
              </a:endParaRPr>
            </a:p>
            <a:p>
              <a:pPr marL="171450" indent="-171450" algn="ctr" rtl="1">
                <a:lnSpc>
                  <a:spcPct val="150000"/>
                </a:lnSpc>
                <a:buClr>
                  <a:srgbClr val="FF0000"/>
                </a:buClr>
                <a:buFont typeface="Wingdings" panose="05000000000000000000" pitchFamily="2" charset="2"/>
                <a:buChar char="v"/>
              </a:pPr>
              <a:endParaRPr lang="en-US" b="1" dirty="0">
                <a:latin typeface="Times New Roman" panose="02020603050405020304" pitchFamily="18" charset="0"/>
                <a:cs typeface="B Zar" panose="00000400000000000000" pitchFamily="2" charset="-78"/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5798102" y="1884965"/>
              <a:ext cx="2383234" cy="166795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171450" indent="-171450" algn="r" rtl="1">
                <a:buClr>
                  <a:srgbClr val="FF0000"/>
                </a:buClr>
                <a:buFont typeface="Wingdings" panose="05000000000000000000" pitchFamily="2" charset="2"/>
                <a:buChar char="v"/>
              </a:pP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مدل </a:t>
              </a:r>
              <a:r>
                <a:rPr lang="en-US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Lopez</a:t>
              </a: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 (+ آمادگي پداگوژي)</a:t>
              </a:r>
              <a:endParaRPr lang="en-US" b="1" dirty="0">
                <a:latin typeface="Times New Roman" panose="02020603050405020304" pitchFamily="18" charset="0"/>
                <a:cs typeface="B Zar" panose="00000400000000000000" pitchFamily="2" charset="-78"/>
              </a:endParaRP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4042361" y="3200106"/>
              <a:ext cx="4697601" cy="50038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171450" indent="-171450" algn="r" rtl="1">
                <a:lnSpc>
                  <a:spcPct val="150000"/>
                </a:lnSpc>
                <a:buClr>
                  <a:srgbClr val="FF0000"/>
                </a:buClr>
                <a:buFont typeface="Wingdings" panose="05000000000000000000" pitchFamily="2" charset="2"/>
                <a:buChar char="v"/>
              </a:pP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مدل </a:t>
              </a:r>
              <a:r>
                <a:rPr lang="en-US" b="1" dirty="0" err="1">
                  <a:latin typeface="Times New Roman" panose="02020603050405020304" pitchFamily="18" charset="0"/>
                  <a:cs typeface="B Zar" panose="00000400000000000000" pitchFamily="2" charset="-78"/>
                </a:rPr>
                <a:t>Darab</a:t>
              </a:r>
              <a:r>
                <a:rPr lang="en-US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 &amp; </a:t>
              </a:r>
              <a:r>
                <a:rPr lang="en-US" b="1" dirty="0" err="1">
                  <a:latin typeface="Times New Roman" panose="02020603050405020304" pitchFamily="18" charset="0"/>
                  <a:cs typeface="B Zar" panose="00000400000000000000" pitchFamily="2" charset="-78"/>
                </a:rPr>
                <a:t>Montazer</a:t>
              </a:r>
              <a:endParaRPr lang="fa-IR" b="1" dirty="0">
                <a:latin typeface="Times New Roman" panose="02020603050405020304" pitchFamily="18" charset="0"/>
                <a:cs typeface="B Zar" panose="00000400000000000000" pitchFamily="2" charset="-78"/>
              </a:endParaRPr>
            </a:p>
            <a:p>
              <a:pPr algn="r" rtl="1">
                <a:lnSpc>
                  <a:spcPct val="150000"/>
                </a:lnSpc>
                <a:buClr>
                  <a:srgbClr val="FF0000"/>
                </a:buClr>
              </a:pP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(+ </a:t>
              </a:r>
              <a:r>
                <a:rPr lang="fa-IR" b="1" dirty="0">
                  <a:solidFill>
                    <a:srgbClr val="C00000"/>
                  </a:solidFill>
                  <a:latin typeface="Times New Roman" panose="02020603050405020304" pitchFamily="18" charset="0"/>
                  <a:cs typeface="B Zar" panose="00000400000000000000" pitchFamily="2" charset="-78"/>
                </a:rPr>
                <a:t>آمادگي قوانين و مقررات + آمادگی امنيت + آمادگی هماهنگی و نظارت</a:t>
              </a:r>
              <a:r>
                <a:rPr lang="fa-IR" b="1" dirty="0">
                  <a:latin typeface="Times New Roman" panose="02020603050405020304" pitchFamily="18" charset="0"/>
                  <a:cs typeface="B Zar" panose="00000400000000000000" pitchFamily="2" charset="-78"/>
                </a:rPr>
                <a:t>)</a:t>
              </a:r>
              <a:endParaRPr lang="en-US" b="1" dirty="0">
                <a:latin typeface="Times New Roman" panose="02020603050405020304" pitchFamily="18" charset="0"/>
                <a:cs typeface="B Zar" panose="00000400000000000000" pitchFamily="2" charset="-78"/>
              </a:endParaRPr>
            </a:p>
          </p:txBody>
        </p:sp>
      </p:grpSp>
      <p:sp>
        <p:nvSpPr>
          <p:cNvPr id="113" name="Title 2"/>
          <p:cNvSpPr txBox="1">
            <a:spLocks/>
          </p:cNvSpPr>
          <p:nvPr/>
        </p:nvSpPr>
        <p:spPr>
          <a:xfrm>
            <a:off x="302590" y="5894358"/>
            <a:ext cx="8156915" cy="8238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endParaRPr lang="en-US" sz="2800" dirty="0">
              <a:solidFill>
                <a:srgbClr val="FF0000"/>
              </a:solidFill>
              <a:cs typeface="B Titr" panose="000007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594969251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Custom Design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Product Road Map">
  <a:themeElements>
    <a:clrScheme name="New 24point0">
      <a:dk1>
        <a:srgbClr val="000000"/>
      </a:dk1>
      <a:lt1>
        <a:srgbClr val="FFFFFF"/>
      </a:lt1>
      <a:dk2>
        <a:srgbClr val="000000"/>
      </a:dk2>
      <a:lt2>
        <a:srgbClr val="0070C0"/>
      </a:lt2>
      <a:accent1>
        <a:srgbClr val="276B7D"/>
      </a:accent1>
      <a:accent2>
        <a:srgbClr val="FFC000"/>
      </a:accent2>
      <a:accent3>
        <a:srgbClr val="7F7F7F"/>
      </a:accent3>
      <a:accent4>
        <a:srgbClr val="BF0000"/>
      </a:accent4>
      <a:accent5>
        <a:srgbClr val="FF4925"/>
      </a:accent5>
      <a:accent6>
        <a:srgbClr val="92D050"/>
      </a:accent6>
      <a:hlink>
        <a:srgbClr val="276B7D"/>
      </a:hlink>
      <a:folHlink>
        <a:srgbClr val="276B7D"/>
      </a:folHlink>
    </a:clrScheme>
    <a:fontScheme name="New Non Map fo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>
    <a:spDef>
      <a:spPr>
        <a:solidFill>
          <a:schemeClr val="bg1">
            <a:lumMod val="6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spDef>
  </a:objectDefaults>
  <a:extraClrSchemeLst/>
</a:theme>
</file>

<file path=ppt/theme/theme4.xml><?xml version="1.0" encoding="utf-8"?>
<a:theme xmlns:a="http://schemas.openxmlformats.org/drawingml/2006/main" name="1_Custom Design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ustom Design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Retrospect">
  <a:themeElements>
    <a:clrScheme name="Retrospect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6B9F25"/>
      </a:hlink>
      <a:folHlink>
        <a:srgbClr val="B26B0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Retrospect" id="{5F128B03-DCCA-4EEB-AB3B-CF2899314A46}" vid="{D26EA377-59BD-4C9C-9D94-EE8416EE4C79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7992</TotalTime>
  <Words>2361</Words>
  <Application>Microsoft Office PowerPoint</Application>
  <PresentationFormat>Custom</PresentationFormat>
  <Paragraphs>898</Paragraphs>
  <Slides>28</Slides>
  <Notes>19</Notes>
  <HiddenSlides>1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53" baseType="lpstr">
      <vt:lpstr>Arial</vt:lpstr>
      <vt:lpstr>B Zar</vt:lpstr>
      <vt:lpstr>Century Gothic</vt:lpstr>
      <vt:lpstr>MS Mincho</vt:lpstr>
      <vt:lpstr>FontAwesome</vt:lpstr>
      <vt:lpstr>Franklin Gothic Book</vt:lpstr>
      <vt:lpstr>Courier New</vt:lpstr>
      <vt:lpstr>Lato Light</vt:lpstr>
      <vt:lpstr>Wingdings</vt:lpstr>
      <vt:lpstr>IranNastaliq</vt:lpstr>
      <vt:lpstr>Calibri Light</vt:lpstr>
      <vt:lpstr>B Titr</vt:lpstr>
      <vt:lpstr>Wingdings 2</vt:lpstr>
      <vt:lpstr>Times New Roman</vt:lpstr>
      <vt:lpstr>Calibri</vt:lpstr>
      <vt:lpstr>Lotus</vt:lpstr>
      <vt:lpstr>Wingdings 3</vt:lpstr>
      <vt:lpstr>Custom Design</vt:lpstr>
      <vt:lpstr>Blank</vt:lpstr>
      <vt:lpstr>Product Road Map</vt:lpstr>
      <vt:lpstr>1_Custom Design</vt:lpstr>
      <vt:lpstr>2_Custom Design</vt:lpstr>
      <vt:lpstr>Retrospect</vt:lpstr>
      <vt:lpstr>think-cell Slide</vt:lpstr>
      <vt:lpstr>Visio.Drawing.1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والحمدللّه ربّ  العالمین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eps PowerPointTemplate</dc:title>
  <dc:creator>showeet.com</dc:creator>
  <dc:description>© Copyright Showeet.com</dc:description>
  <cp:lastModifiedBy>Administrator</cp:lastModifiedBy>
  <cp:revision>300</cp:revision>
  <cp:lastPrinted>2019-12-23T12:49:05Z</cp:lastPrinted>
  <dcterms:created xsi:type="dcterms:W3CDTF">2011-05-09T14:18:21Z</dcterms:created>
  <dcterms:modified xsi:type="dcterms:W3CDTF">2020-02-02T19:53:18Z</dcterms:modified>
  <cp:category>Templates</cp:category>
</cp:coreProperties>
</file>